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38.xml" ContentType="application/vnd.openxmlformats-officedocument.presentationml.tags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tags/tag225.xml" ContentType="application/vnd.openxmlformats-officedocument.presentationml.tags+xml"/>
  <Override PartName="/ppt/tags/tag243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32.xml" ContentType="application/vnd.openxmlformats-officedocument.presentationml.tags+xml"/>
  <Override PartName="/ppt/tags/tag250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tags/tag219.xml" ContentType="application/vnd.openxmlformats-officedocument.presentationml.tags+xml"/>
  <Override PartName="/ppt/tags/tag248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86" r:id="rId2"/>
    <p:sldId id="315" r:id="rId3"/>
    <p:sldId id="319" r:id="rId4"/>
    <p:sldId id="321" r:id="rId5"/>
    <p:sldId id="323" r:id="rId6"/>
    <p:sldId id="329" r:id="rId7"/>
    <p:sldId id="324" r:id="rId8"/>
    <p:sldId id="326" r:id="rId9"/>
    <p:sldId id="317" r:id="rId10"/>
    <p:sldId id="325" r:id="rId11"/>
  </p:sldIdLst>
  <p:sldSz cx="9144000" cy="6858000" type="screen4x3"/>
  <p:notesSz cx="6797675" cy="9928225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1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6C0A"/>
    <a:srgbClr val="00519A"/>
    <a:srgbClr val="9BC62E"/>
    <a:srgbClr val="9BC6FF"/>
    <a:srgbClr val="DCE6F2"/>
    <a:srgbClr val="E9EDF4"/>
    <a:srgbClr val="EEEE96"/>
    <a:srgbClr val="C9E5FF"/>
    <a:srgbClr val="3BA2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6138" autoAdjust="0"/>
  </p:normalViewPr>
  <p:slideViewPr>
    <p:cSldViewPr>
      <p:cViewPr>
        <p:scale>
          <a:sx n="100" d="100"/>
          <a:sy n="100" d="100"/>
        </p:scale>
        <p:origin x="-198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emf"/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13F1AD-E3C6-491A-8345-8ABD390A7099}" type="datetimeFigureOut">
              <a:rPr lang="ru-RU" smtClean="0"/>
              <a:pPr/>
              <a:t>21.11.2014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8DA975-9FD3-4017-AE54-C08E6BF1BDF8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BA62E6F-585E-4F0E-B5FD-256F3F12AC58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050BF11-EE37-4660-9672-13565B0115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bs-life.ru/finansy/strahovanie/strahovie-vznosy2013.html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://russia-in-law.ru/zakon-o-snizhenii-strahovyih-vznosov/" TargetMode="External"/><Relationship Id="rId5" Type="http://schemas.openxmlformats.org/officeDocument/2006/relationships/hyperlink" Target="http://bs-life.ru/predprinimatelstvo/ip/otkritie-ip2013.html" TargetMode="External"/><Relationship Id="rId4" Type="http://schemas.openxmlformats.org/officeDocument/2006/relationships/hyperlink" Target="http://bs-life.ru/makroekonomika/budzet2015.html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pravo.gov.ru:8080/page.aspx?66760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dirty="0" smtClean="0"/>
              <a:t>Начало 2013 года принесло не совсем благоприятный подарок для индивидуальных предпринимателей. Как известно, сумма </a:t>
            </a:r>
            <a:r>
              <a:rPr lang="ru-RU" dirty="0" smtClean="0">
                <a:hlinkClick r:id="rId3"/>
              </a:rPr>
              <a:t>страховых взносов</a:t>
            </a:r>
            <a:r>
              <a:rPr lang="ru-RU" dirty="0" smtClean="0"/>
              <a:t> увеличилась ровно в два раза. Из-за этого нововведения, в 2013 году более 600 000 индивидуальных предпринимателей решили закрыть свою деятельность. Если брать в расчет, что ранее каждый предприниматель должен был заплатить в государственную казну примерно 35 000 рублей, общие потери гос</a:t>
            </a:r>
            <a:r>
              <a:rPr lang="ru-RU" dirty="0" smtClean="0">
                <a:hlinkClick r:id="rId4"/>
              </a:rPr>
              <a:t>бюджет</a:t>
            </a:r>
            <a:r>
              <a:rPr lang="ru-RU" dirty="0" smtClean="0"/>
              <a:t>а достаточно велики. Уже сейчас заметно, что увеличение суммы страховых взносов привело к замедлению развития российского малого бизнеса, недостатку налоговых доходов и другим, не менее значимым проблемам в экономике.</a:t>
            </a:r>
          </a:p>
          <a:p>
            <a:r>
              <a:rPr lang="ru-RU" dirty="0" smtClean="0"/>
              <a:t>Чиновники не могли не заметить данной тенденции, соответственно, в грядущем году все без исключения ожидают новых, более мудрых законопроектов, которые смогут ликвидировать массовое закрытие </a:t>
            </a:r>
            <a:r>
              <a:rPr lang="ru-RU" dirty="0" smtClean="0">
                <a:hlinkClick r:id="rId5"/>
              </a:rPr>
              <a:t>ИП</a:t>
            </a:r>
            <a:r>
              <a:rPr lang="ru-RU" dirty="0" smtClean="0"/>
              <a:t>. Властью неоднократно подчеркивалось, что центральной задачей новых законопроектов является уменьшение страховых взносов для ИП с малыми доходами, но, одновременно с этим, доходная база ПРФ не должна быть ограничена.</a:t>
            </a:r>
          </a:p>
          <a:p>
            <a:r>
              <a:rPr lang="ru-RU" dirty="0" smtClean="0"/>
              <a:t>Чтобы решить, казалось бы, не решаемую задачу, президент Российской Федерации 23 июля 2013 года подписал закон № 237-ФЗ о дифференцированных страховых взносах. По мнению чиновников, с помощью данного закона российские ИП смогут более комфортно осуществлять свою деятельность.</a:t>
            </a:r>
          </a:p>
          <a:p>
            <a:endParaRPr lang="ru-RU" dirty="0" smtClean="0"/>
          </a:p>
          <a:p>
            <a:endParaRPr lang="ru-RU" dirty="0" smtClean="0"/>
          </a:p>
          <a:p>
            <a:r>
              <a:rPr lang="ru-RU" dirty="0" smtClean="0"/>
              <a:t>До 2014 года страховые взносы в ПФР индивидуальных предпринимателей были едиными для всех и не зависели от объема полученных доходов. С 2014 года порядок расчета и уплаты взносов меняется, они будут делиться на:</a:t>
            </a:r>
          </a:p>
          <a:p>
            <a:r>
              <a:rPr lang="ru-RU" dirty="0" smtClean="0"/>
              <a:t>фиксированную часть (обязательную к уплате для всех предпринимателей, независимо от наличия или отсутствия финансово-хозяйственной деятельности, режима налогообложения и размера полученных доходов). Фиксированные взносы в ПФР рассчитываются по формуле (МРОТ на начало года </a:t>
            </a:r>
            <a:r>
              <a:rPr lang="ru-RU" dirty="0" err="1" smtClean="0"/>
              <a:t>х</a:t>
            </a:r>
            <a:r>
              <a:rPr lang="ru-RU" dirty="0" smtClean="0"/>
              <a:t> Тариф страховых взносов (26%) </a:t>
            </a:r>
            <a:r>
              <a:rPr lang="ru-RU" dirty="0" err="1" smtClean="0"/>
              <a:t>х</a:t>
            </a:r>
            <a:r>
              <a:rPr lang="ru-RU" dirty="0" smtClean="0"/>
              <a:t> 12);</a:t>
            </a:r>
          </a:p>
          <a:p>
            <a:r>
              <a:rPr lang="ru-RU" dirty="0" smtClean="0"/>
              <a:t>индивидуальная часть страховых взносов в ПФР (1% от суммы дохода свыше 300 тыс. рублей в год);</a:t>
            </a:r>
          </a:p>
          <a:p>
            <a:endParaRPr lang="ru-RU" sz="1200" kern="120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ак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идит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есл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рво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мер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змер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зносов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равнению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ействующи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конодательство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ействительн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нижаетс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торо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мер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то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змер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скольк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з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еличиваетс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и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разо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в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кон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ализован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ифференцированны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дход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к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становлению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числени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П в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нсионны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фонд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гд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змер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плачиваемы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зносов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прямую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виси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ход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едпринимател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  <a:endParaRPr lang="en-US" dirty="0" smtClean="0"/>
          </a:p>
          <a:p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нению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конодателе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о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дход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зволи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еспечить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едпринимателя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траховы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нсионны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коплени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 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Чт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елаетс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д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и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ж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лаг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эт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амо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ел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дит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ам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ичн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у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ен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ака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иторик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ызывае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омнени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уд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ому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ак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нимались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шени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начал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б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еличени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зносов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с 2013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од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л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се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П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зависим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ход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динаков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, а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еперь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сл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массовог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крыти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П с 2014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год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ифференцированн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(с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езки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увеличением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числени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в ПФР 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л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ИП с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ысоким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ходам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)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шим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ластям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виже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забот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о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нсионны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копления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едпринимателе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а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ырявы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бюдже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енсионног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онд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ефицит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которог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ужн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чем-т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рикрывать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днак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вольно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лирически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тступлений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ернемся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к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анализу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закона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 о "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снижении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"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страховых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 </a:t>
            </a:r>
            <a:r>
              <a:rPr lang="en-US" sz="1200" kern="120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6" tooltip="Закон о снижении страховых взносов"/>
              </a:rPr>
              <a:t>взносов</a:t>
            </a:r>
            <a:r>
              <a:rPr lang="en-US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dirty="0" smtClean="0"/>
              <a:t>2 ноября Президент РФ подписал Федеральный закон № 307-ФЗ «</a:t>
            </a:r>
            <a:r>
              <a:rPr lang="ru-RU" b="1" i="1" dirty="0" smtClean="0"/>
              <a:t>О внесении изменений в статью 12 части первой и главу 30 части второй Налогового кодекса Российской Федерации</a:t>
            </a:r>
            <a:r>
              <a:rPr lang="ru-RU" dirty="0" smtClean="0"/>
              <a:t>» (опубликован 3 ноября на сайте </a:t>
            </a:r>
            <a:r>
              <a:rPr lang="ru-RU" dirty="0" err="1" smtClean="0">
                <a:hlinkClick r:id="rId3"/>
              </a:rPr>
              <a:t>pravo.gov.ru</a:t>
            </a:r>
            <a:r>
              <a:rPr lang="ru-RU" dirty="0" smtClean="0"/>
              <a:t>)/</a:t>
            </a:r>
          </a:p>
          <a:p>
            <a:r>
              <a:rPr lang="ru-RU" dirty="0" smtClean="0"/>
              <a:t> Это один из наиболее резонансных за последнее время налоговых законов, поскольку предусматривает в некотором роде мини-революцию в порядке исчисления налога на имущество организаций (правда не по всем, а лишь по некоторым объектам недвижимости), предусматривая, что базой для такого исчисления будет являться </a:t>
            </a:r>
            <a:r>
              <a:rPr lang="ru-RU" b="1" dirty="0" smtClean="0"/>
              <a:t>кадастровая</a:t>
            </a:r>
            <a:r>
              <a:rPr lang="ru-RU" dirty="0" smtClean="0"/>
              <a:t> стоимость указанных объектов.</a:t>
            </a:r>
          </a:p>
          <a:p>
            <a:endParaRPr lang="ru-RU" dirty="0" smtClean="0"/>
          </a:p>
          <a:p>
            <a:r>
              <a:rPr lang="ru-RU" dirty="0" smtClean="0"/>
              <a:t>согласно поправкам, внесенным в гл. 30 НК РФ, сводятся как раз к тому, что эта база может исчисляться исходя из кадастровой стоимости применительно к следующим объектам:</a:t>
            </a:r>
          </a:p>
          <a:p>
            <a:r>
              <a:rPr lang="ru-RU" dirty="0" smtClean="0"/>
              <a:t>- административно-деловые центры и торговые центры (комплексы) и помещения в них;</a:t>
            </a:r>
          </a:p>
          <a:p>
            <a:r>
              <a:rPr lang="ru-RU" dirty="0" smtClean="0"/>
              <a:t>- нежилые помещения, назначение которых в соответствии с кадастровыми паспортами объектов недвижимости или документами технического учета (инвентаризации) объектов недвижимости предусматривает размещение офисов, торговых объектов, объектов общественного питания и бытового обслуживания либо которые фактически используются для размещения офисов, торговых объектов, объектов общественного питания и бытового обслуживания;</a:t>
            </a:r>
          </a:p>
          <a:p>
            <a:r>
              <a:rPr lang="ru-RU" dirty="0" smtClean="0"/>
              <a:t>- объекты недвижимого имущества иностранных организаций, не осуществляющих деятельности в Российской Федерации через постоянные представительства, а также объекты недвижимого имущества иностранных организаций, не относящиеся к деятельности данных организаций в Российской Федерации через постоянные представительства.</a:t>
            </a:r>
          </a:p>
          <a:p>
            <a:r>
              <a:rPr lang="ru-RU" dirty="0" smtClean="0"/>
              <a:t>Указанные особенности могут быть установлены только после утверждения субъектом Российской Федерации в установленном порядке результатов определения кадастровой стоимости объектов недвижимого имуществ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1. Формулировка и описание проблемы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2. Постановка целей регулирования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3. Описание возможных вариантов достижения целей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4. Анализ выгод и издержек использования каждого варианта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5. Проведение публичных консультаций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6. Отчет (заключение) об ОРВ: выводы, рекомендуемый вариант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 smtClean="0">
                <a:latin typeface="Arial Narrow" pitchFamily="34" charset="0"/>
              </a:rPr>
              <a:t>7. Реализация выбранного варианта и мониторинг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A6706-09DD-4445-889C-2506FB513858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83626-EB47-42A2-918D-B8D2D18315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3B42AE-A65C-4AC6-9852-A5D4A21A061A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581B91-C857-4E77-9C7C-4DC3B550272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25D27D-591D-48D5-AA28-9420E16DEDCD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0EDC0C-4FD8-4817-A961-D437DA19DC0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F414F-BD9C-425F-95B7-7373339C1310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9CA481-3613-4F5F-B77A-79D035DE7E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AA5EE7-0226-47D3-A1C5-CB4531446205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6970A-FC03-4F19-892E-0FDEC5ED96E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D61E2-BD6F-44B7-8708-C46495C08396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0635E-397F-4508-8AC4-EF3BBA9606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AA9A65-8B97-4B7E-AA5D-C8BCBCE9AD35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10A12-A876-4834-8DDC-2EE07D323C4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AEFD2-676F-4A4F-A665-5CD1DC91A358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AA30AB-4464-4C88-ABCD-532A0DFC88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75F84-B269-4A6E-9592-4C405127A80D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CF1D44-DD7A-4F3B-81BC-4B13FCD5E9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B5CE9-714B-4AD3-AF96-F4BAF176586F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4992B-4899-489B-A187-F41E5C06C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968C0E-F350-47B4-91AA-1E8FB052FEC7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EB6EE3-6DE1-44E3-8DC4-A4245EBF9D2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1B90C74-E24D-45D8-8504-DBB4A75415DC}" type="datetimeFigureOut">
              <a:rPr lang="ru-RU"/>
              <a:pPr>
                <a:defRPr/>
              </a:pPr>
              <a:t>21.11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5CA5332-540A-4B6B-A1F3-B5FE5A4066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6.emf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image" Target="../media/image5.emf"/><Relationship Id="rId2" Type="http://schemas.openxmlformats.org/officeDocument/2006/relationships/tags" Target="../tags/tag5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image" Target="../media/image4.jpeg"/><Relationship Id="rId10" Type="http://schemas.openxmlformats.org/officeDocument/2006/relationships/tags" Target="../tags/tag13.xml"/><Relationship Id="rId19" Type="http://schemas.openxmlformats.org/officeDocument/2006/relationships/image" Target="../media/image7.w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9" Type="http://schemas.openxmlformats.org/officeDocument/2006/relationships/tags" Target="../tags/tag53.xml"/><Relationship Id="rId21" Type="http://schemas.openxmlformats.org/officeDocument/2006/relationships/tags" Target="../tags/tag35.xml"/><Relationship Id="rId34" Type="http://schemas.openxmlformats.org/officeDocument/2006/relationships/tags" Target="../tags/tag48.xml"/><Relationship Id="rId42" Type="http://schemas.openxmlformats.org/officeDocument/2006/relationships/tags" Target="../tags/tag56.xml"/><Relationship Id="rId47" Type="http://schemas.openxmlformats.org/officeDocument/2006/relationships/tags" Target="../tags/tag61.xml"/><Relationship Id="rId50" Type="http://schemas.openxmlformats.org/officeDocument/2006/relationships/tags" Target="../tags/tag64.xml"/><Relationship Id="rId55" Type="http://schemas.openxmlformats.org/officeDocument/2006/relationships/tags" Target="../tags/tag69.xml"/><Relationship Id="rId63" Type="http://schemas.openxmlformats.org/officeDocument/2006/relationships/oleObject" Target="../embeddings/oleObject3.bin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tags" Target="../tags/tag43.xml"/><Relationship Id="rId41" Type="http://schemas.openxmlformats.org/officeDocument/2006/relationships/tags" Target="../tags/tag55.xml"/><Relationship Id="rId54" Type="http://schemas.openxmlformats.org/officeDocument/2006/relationships/tags" Target="../tags/tag68.xml"/><Relationship Id="rId6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tags" Target="../tags/tag46.xml"/><Relationship Id="rId37" Type="http://schemas.openxmlformats.org/officeDocument/2006/relationships/tags" Target="../tags/tag51.xml"/><Relationship Id="rId40" Type="http://schemas.openxmlformats.org/officeDocument/2006/relationships/tags" Target="../tags/tag54.xml"/><Relationship Id="rId45" Type="http://schemas.openxmlformats.org/officeDocument/2006/relationships/tags" Target="../tags/tag59.xml"/><Relationship Id="rId53" Type="http://schemas.openxmlformats.org/officeDocument/2006/relationships/tags" Target="../tags/tag67.xml"/><Relationship Id="rId58" Type="http://schemas.openxmlformats.org/officeDocument/2006/relationships/tags" Target="../tags/tag72.xml"/><Relationship Id="rId66" Type="http://schemas.openxmlformats.org/officeDocument/2006/relationships/oleObject" Target="../embeddings/oleObject5.bin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36" Type="http://schemas.openxmlformats.org/officeDocument/2006/relationships/tags" Target="../tags/tag50.xml"/><Relationship Id="rId49" Type="http://schemas.openxmlformats.org/officeDocument/2006/relationships/tags" Target="../tags/tag63.xml"/><Relationship Id="rId57" Type="http://schemas.openxmlformats.org/officeDocument/2006/relationships/tags" Target="../tags/tag71.xml"/><Relationship Id="rId61" Type="http://schemas.openxmlformats.org/officeDocument/2006/relationships/tags" Target="../tags/tag75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tags" Target="../tags/tag45.xml"/><Relationship Id="rId44" Type="http://schemas.openxmlformats.org/officeDocument/2006/relationships/tags" Target="../tags/tag58.xml"/><Relationship Id="rId52" Type="http://schemas.openxmlformats.org/officeDocument/2006/relationships/tags" Target="../tags/tag66.xml"/><Relationship Id="rId60" Type="http://schemas.openxmlformats.org/officeDocument/2006/relationships/tags" Target="../tags/tag74.xml"/><Relationship Id="rId65" Type="http://schemas.openxmlformats.org/officeDocument/2006/relationships/oleObject" Target="../embeddings/oleObject4.bin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tags" Target="../tags/tag44.xml"/><Relationship Id="rId35" Type="http://schemas.openxmlformats.org/officeDocument/2006/relationships/tags" Target="../tags/tag49.xml"/><Relationship Id="rId43" Type="http://schemas.openxmlformats.org/officeDocument/2006/relationships/tags" Target="../tags/tag57.xml"/><Relationship Id="rId48" Type="http://schemas.openxmlformats.org/officeDocument/2006/relationships/tags" Target="../tags/tag62.xml"/><Relationship Id="rId56" Type="http://schemas.openxmlformats.org/officeDocument/2006/relationships/tags" Target="../tags/tag70.xml"/><Relationship Id="rId64" Type="http://schemas.openxmlformats.org/officeDocument/2006/relationships/image" Target="../media/image4.jpeg"/><Relationship Id="rId8" Type="http://schemas.openxmlformats.org/officeDocument/2006/relationships/tags" Target="../tags/tag22.xml"/><Relationship Id="rId51" Type="http://schemas.openxmlformats.org/officeDocument/2006/relationships/tags" Target="../tags/tag65.xml"/><Relationship Id="rId3" Type="http://schemas.openxmlformats.org/officeDocument/2006/relationships/tags" Target="../tags/tag17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33" Type="http://schemas.openxmlformats.org/officeDocument/2006/relationships/tags" Target="../tags/tag47.xml"/><Relationship Id="rId38" Type="http://schemas.openxmlformats.org/officeDocument/2006/relationships/tags" Target="../tags/tag52.xml"/><Relationship Id="rId46" Type="http://schemas.openxmlformats.org/officeDocument/2006/relationships/tags" Target="../tags/tag60.xml"/><Relationship Id="rId59" Type="http://schemas.openxmlformats.org/officeDocument/2006/relationships/tags" Target="../tags/tag73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26" Type="http://schemas.openxmlformats.org/officeDocument/2006/relationships/tags" Target="../tags/tag100.xml"/><Relationship Id="rId39" Type="http://schemas.openxmlformats.org/officeDocument/2006/relationships/tags" Target="../tags/tag113.xml"/><Relationship Id="rId21" Type="http://schemas.openxmlformats.org/officeDocument/2006/relationships/tags" Target="../tags/tag95.xml"/><Relationship Id="rId34" Type="http://schemas.openxmlformats.org/officeDocument/2006/relationships/tags" Target="../tags/tag108.xml"/><Relationship Id="rId42" Type="http://schemas.openxmlformats.org/officeDocument/2006/relationships/tags" Target="../tags/tag116.xml"/><Relationship Id="rId47" Type="http://schemas.openxmlformats.org/officeDocument/2006/relationships/tags" Target="../tags/tag121.xml"/><Relationship Id="rId50" Type="http://schemas.openxmlformats.org/officeDocument/2006/relationships/tags" Target="../tags/tag124.xml"/><Relationship Id="rId55" Type="http://schemas.openxmlformats.org/officeDocument/2006/relationships/tags" Target="../tags/tag129.xml"/><Relationship Id="rId63" Type="http://schemas.openxmlformats.org/officeDocument/2006/relationships/image" Target="../media/image4.jpeg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tags" Target="../tags/tag94.xml"/><Relationship Id="rId29" Type="http://schemas.openxmlformats.org/officeDocument/2006/relationships/tags" Target="../tags/tag103.xml"/><Relationship Id="rId41" Type="http://schemas.openxmlformats.org/officeDocument/2006/relationships/tags" Target="../tags/tag115.xml"/><Relationship Id="rId54" Type="http://schemas.openxmlformats.org/officeDocument/2006/relationships/tags" Target="../tags/tag128.xml"/><Relationship Id="rId62" Type="http://schemas.openxmlformats.org/officeDocument/2006/relationships/oleObject" Target="../embeddings/oleObject6.bin"/><Relationship Id="rId1" Type="http://schemas.openxmlformats.org/officeDocument/2006/relationships/vmlDrawing" Target="../drawings/vmlDrawing4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24" Type="http://schemas.openxmlformats.org/officeDocument/2006/relationships/tags" Target="../tags/tag98.xml"/><Relationship Id="rId32" Type="http://schemas.openxmlformats.org/officeDocument/2006/relationships/tags" Target="../tags/tag106.xml"/><Relationship Id="rId37" Type="http://schemas.openxmlformats.org/officeDocument/2006/relationships/tags" Target="../tags/tag111.xml"/><Relationship Id="rId40" Type="http://schemas.openxmlformats.org/officeDocument/2006/relationships/tags" Target="../tags/tag114.xml"/><Relationship Id="rId45" Type="http://schemas.openxmlformats.org/officeDocument/2006/relationships/tags" Target="../tags/tag119.xml"/><Relationship Id="rId53" Type="http://schemas.openxmlformats.org/officeDocument/2006/relationships/tags" Target="../tags/tag127.xml"/><Relationship Id="rId58" Type="http://schemas.openxmlformats.org/officeDocument/2006/relationships/tags" Target="../tags/tag132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23" Type="http://schemas.openxmlformats.org/officeDocument/2006/relationships/tags" Target="../tags/tag97.xml"/><Relationship Id="rId28" Type="http://schemas.openxmlformats.org/officeDocument/2006/relationships/tags" Target="../tags/tag102.xml"/><Relationship Id="rId36" Type="http://schemas.openxmlformats.org/officeDocument/2006/relationships/tags" Target="../tags/tag110.xml"/><Relationship Id="rId49" Type="http://schemas.openxmlformats.org/officeDocument/2006/relationships/tags" Target="../tags/tag123.xml"/><Relationship Id="rId57" Type="http://schemas.openxmlformats.org/officeDocument/2006/relationships/tags" Target="../tags/tag131.xml"/><Relationship Id="rId61" Type="http://schemas.openxmlformats.org/officeDocument/2006/relationships/slideLayout" Target="../slideLayouts/slideLayout2.xml"/><Relationship Id="rId10" Type="http://schemas.openxmlformats.org/officeDocument/2006/relationships/tags" Target="../tags/tag84.xml"/><Relationship Id="rId19" Type="http://schemas.openxmlformats.org/officeDocument/2006/relationships/tags" Target="../tags/tag93.xml"/><Relationship Id="rId31" Type="http://schemas.openxmlformats.org/officeDocument/2006/relationships/tags" Target="../tags/tag105.xml"/><Relationship Id="rId44" Type="http://schemas.openxmlformats.org/officeDocument/2006/relationships/tags" Target="../tags/tag118.xml"/><Relationship Id="rId52" Type="http://schemas.openxmlformats.org/officeDocument/2006/relationships/tags" Target="../tags/tag126.xml"/><Relationship Id="rId60" Type="http://schemas.openxmlformats.org/officeDocument/2006/relationships/tags" Target="../tags/tag134.xml"/><Relationship Id="rId65" Type="http://schemas.openxmlformats.org/officeDocument/2006/relationships/oleObject" Target="../embeddings/oleObject8.bin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Relationship Id="rId22" Type="http://schemas.openxmlformats.org/officeDocument/2006/relationships/tags" Target="../tags/tag96.xml"/><Relationship Id="rId27" Type="http://schemas.openxmlformats.org/officeDocument/2006/relationships/tags" Target="../tags/tag101.xml"/><Relationship Id="rId30" Type="http://schemas.openxmlformats.org/officeDocument/2006/relationships/tags" Target="../tags/tag104.xml"/><Relationship Id="rId35" Type="http://schemas.openxmlformats.org/officeDocument/2006/relationships/tags" Target="../tags/tag109.xml"/><Relationship Id="rId43" Type="http://schemas.openxmlformats.org/officeDocument/2006/relationships/tags" Target="../tags/tag117.xml"/><Relationship Id="rId48" Type="http://schemas.openxmlformats.org/officeDocument/2006/relationships/tags" Target="../tags/tag122.xml"/><Relationship Id="rId56" Type="http://schemas.openxmlformats.org/officeDocument/2006/relationships/tags" Target="../tags/tag130.xml"/><Relationship Id="rId64" Type="http://schemas.openxmlformats.org/officeDocument/2006/relationships/oleObject" Target="../embeddings/oleObject7.bin"/><Relationship Id="rId8" Type="http://schemas.openxmlformats.org/officeDocument/2006/relationships/tags" Target="../tags/tag82.xml"/><Relationship Id="rId51" Type="http://schemas.openxmlformats.org/officeDocument/2006/relationships/tags" Target="../tags/tag125.xml"/><Relationship Id="rId3" Type="http://schemas.openxmlformats.org/officeDocument/2006/relationships/tags" Target="../tags/tag77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5" Type="http://schemas.openxmlformats.org/officeDocument/2006/relationships/tags" Target="../tags/tag99.xml"/><Relationship Id="rId33" Type="http://schemas.openxmlformats.org/officeDocument/2006/relationships/tags" Target="../tags/tag107.xml"/><Relationship Id="rId38" Type="http://schemas.openxmlformats.org/officeDocument/2006/relationships/tags" Target="../tags/tag112.xml"/><Relationship Id="rId46" Type="http://schemas.openxmlformats.org/officeDocument/2006/relationships/tags" Target="../tags/tag120.xml"/><Relationship Id="rId59" Type="http://schemas.openxmlformats.org/officeDocument/2006/relationships/tags" Target="../tags/tag13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46.xml"/><Relationship Id="rId18" Type="http://schemas.openxmlformats.org/officeDocument/2006/relationships/tags" Target="../tags/tag151.xml"/><Relationship Id="rId26" Type="http://schemas.openxmlformats.org/officeDocument/2006/relationships/tags" Target="../tags/tag159.xml"/><Relationship Id="rId39" Type="http://schemas.openxmlformats.org/officeDocument/2006/relationships/tags" Target="../tags/tag172.xml"/><Relationship Id="rId21" Type="http://schemas.openxmlformats.org/officeDocument/2006/relationships/tags" Target="../tags/tag154.xml"/><Relationship Id="rId34" Type="http://schemas.openxmlformats.org/officeDocument/2006/relationships/tags" Target="../tags/tag167.xml"/><Relationship Id="rId42" Type="http://schemas.openxmlformats.org/officeDocument/2006/relationships/tags" Target="../tags/tag175.xml"/><Relationship Id="rId47" Type="http://schemas.openxmlformats.org/officeDocument/2006/relationships/tags" Target="../tags/tag180.xml"/><Relationship Id="rId50" Type="http://schemas.openxmlformats.org/officeDocument/2006/relationships/tags" Target="../tags/tag183.xml"/><Relationship Id="rId55" Type="http://schemas.openxmlformats.org/officeDocument/2006/relationships/tags" Target="../tags/tag188.xml"/><Relationship Id="rId63" Type="http://schemas.openxmlformats.org/officeDocument/2006/relationships/oleObject" Target="../embeddings/oleObject11.bin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6" Type="http://schemas.openxmlformats.org/officeDocument/2006/relationships/tags" Target="../tags/tag149.xml"/><Relationship Id="rId20" Type="http://schemas.openxmlformats.org/officeDocument/2006/relationships/tags" Target="../tags/tag153.xml"/><Relationship Id="rId29" Type="http://schemas.openxmlformats.org/officeDocument/2006/relationships/tags" Target="../tags/tag162.xml"/><Relationship Id="rId41" Type="http://schemas.openxmlformats.org/officeDocument/2006/relationships/tags" Target="../tags/tag174.xml"/><Relationship Id="rId54" Type="http://schemas.openxmlformats.org/officeDocument/2006/relationships/tags" Target="../tags/tag187.xml"/><Relationship Id="rId62" Type="http://schemas.openxmlformats.org/officeDocument/2006/relationships/oleObject" Target="../embeddings/oleObject10.bin"/><Relationship Id="rId1" Type="http://schemas.openxmlformats.org/officeDocument/2006/relationships/vmlDrawing" Target="../drawings/vmlDrawing5.v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24" Type="http://schemas.openxmlformats.org/officeDocument/2006/relationships/tags" Target="../tags/tag157.xml"/><Relationship Id="rId32" Type="http://schemas.openxmlformats.org/officeDocument/2006/relationships/tags" Target="../tags/tag165.xml"/><Relationship Id="rId37" Type="http://schemas.openxmlformats.org/officeDocument/2006/relationships/tags" Target="../tags/tag170.xml"/><Relationship Id="rId40" Type="http://schemas.openxmlformats.org/officeDocument/2006/relationships/tags" Target="../tags/tag173.xml"/><Relationship Id="rId45" Type="http://schemas.openxmlformats.org/officeDocument/2006/relationships/tags" Target="../tags/tag178.xml"/><Relationship Id="rId53" Type="http://schemas.openxmlformats.org/officeDocument/2006/relationships/tags" Target="../tags/tag186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138.xml"/><Relationship Id="rId15" Type="http://schemas.openxmlformats.org/officeDocument/2006/relationships/tags" Target="../tags/tag148.xml"/><Relationship Id="rId23" Type="http://schemas.openxmlformats.org/officeDocument/2006/relationships/tags" Target="../tags/tag156.xml"/><Relationship Id="rId28" Type="http://schemas.openxmlformats.org/officeDocument/2006/relationships/tags" Target="../tags/tag161.xml"/><Relationship Id="rId36" Type="http://schemas.openxmlformats.org/officeDocument/2006/relationships/tags" Target="../tags/tag169.xml"/><Relationship Id="rId49" Type="http://schemas.openxmlformats.org/officeDocument/2006/relationships/tags" Target="../tags/tag182.xml"/><Relationship Id="rId57" Type="http://schemas.openxmlformats.org/officeDocument/2006/relationships/tags" Target="../tags/tag190.xml"/><Relationship Id="rId61" Type="http://schemas.openxmlformats.org/officeDocument/2006/relationships/image" Target="../media/image4.jpeg"/><Relationship Id="rId10" Type="http://schemas.openxmlformats.org/officeDocument/2006/relationships/tags" Target="../tags/tag143.xml"/><Relationship Id="rId19" Type="http://schemas.openxmlformats.org/officeDocument/2006/relationships/tags" Target="../tags/tag152.xml"/><Relationship Id="rId31" Type="http://schemas.openxmlformats.org/officeDocument/2006/relationships/tags" Target="../tags/tag164.xml"/><Relationship Id="rId44" Type="http://schemas.openxmlformats.org/officeDocument/2006/relationships/tags" Target="../tags/tag177.xml"/><Relationship Id="rId52" Type="http://schemas.openxmlformats.org/officeDocument/2006/relationships/tags" Target="../tags/tag185.xml"/><Relationship Id="rId60" Type="http://schemas.openxmlformats.org/officeDocument/2006/relationships/oleObject" Target="../embeddings/oleObject9.bin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tags" Target="../tags/tag147.xml"/><Relationship Id="rId22" Type="http://schemas.openxmlformats.org/officeDocument/2006/relationships/tags" Target="../tags/tag155.xml"/><Relationship Id="rId27" Type="http://schemas.openxmlformats.org/officeDocument/2006/relationships/tags" Target="../tags/tag160.xml"/><Relationship Id="rId30" Type="http://schemas.openxmlformats.org/officeDocument/2006/relationships/tags" Target="../tags/tag163.xml"/><Relationship Id="rId35" Type="http://schemas.openxmlformats.org/officeDocument/2006/relationships/tags" Target="../tags/tag168.xml"/><Relationship Id="rId43" Type="http://schemas.openxmlformats.org/officeDocument/2006/relationships/tags" Target="../tags/tag176.xml"/><Relationship Id="rId48" Type="http://schemas.openxmlformats.org/officeDocument/2006/relationships/tags" Target="../tags/tag181.xml"/><Relationship Id="rId56" Type="http://schemas.openxmlformats.org/officeDocument/2006/relationships/tags" Target="../tags/tag189.xml"/><Relationship Id="rId8" Type="http://schemas.openxmlformats.org/officeDocument/2006/relationships/tags" Target="../tags/tag141.xml"/><Relationship Id="rId51" Type="http://schemas.openxmlformats.org/officeDocument/2006/relationships/tags" Target="../tags/tag184.xml"/><Relationship Id="rId3" Type="http://schemas.openxmlformats.org/officeDocument/2006/relationships/tags" Target="../tags/tag136.xml"/><Relationship Id="rId12" Type="http://schemas.openxmlformats.org/officeDocument/2006/relationships/tags" Target="../tags/tag145.xml"/><Relationship Id="rId17" Type="http://schemas.openxmlformats.org/officeDocument/2006/relationships/tags" Target="../tags/tag150.xml"/><Relationship Id="rId25" Type="http://schemas.openxmlformats.org/officeDocument/2006/relationships/tags" Target="../tags/tag158.xml"/><Relationship Id="rId33" Type="http://schemas.openxmlformats.org/officeDocument/2006/relationships/tags" Target="../tags/tag166.xml"/><Relationship Id="rId38" Type="http://schemas.openxmlformats.org/officeDocument/2006/relationships/tags" Target="../tags/tag171.xml"/><Relationship Id="rId46" Type="http://schemas.openxmlformats.org/officeDocument/2006/relationships/tags" Target="../tags/tag179.xml"/><Relationship Id="rId59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18" Type="http://schemas.openxmlformats.org/officeDocument/2006/relationships/tags" Target="../tags/tag207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192.xml"/><Relationship Id="rId21" Type="http://schemas.openxmlformats.org/officeDocument/2006/relationships/tags" Target="../tags/tag210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tags" Target="../tags/tag206.xml"/><Relationship Id="rId25" Type="http://schemas.openxmlformats.org/officeDocument/2006/relationships/image" Target="../media/image4.jpeg"/><Relationship Id="rId2" Type="http://schemas.openxmlformats.org/officeDocument/2006/relationships/tags" Target="../tags/tag191.xml"/><Relationship Id="rId16" Type="http://schemas.openxmlformats.org/officeDocument/2006/relationships/tags" Target="../tags/tag205.xml"/><Relationship Id="rId20" Type="http://schemas.openxmlformats.org/officeDocument/2006/relationships/tags" Target="../tags/tag209.xml"/><Relationship Id="rId1" Type="http://schemas.openxmlformats.org/officeDocument/2006/relationships/vmlDrawing" Target="../drawings/vmlDrawing6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24" Type="http://schemas.openxmlformats.org/officeDocument/2006/relationships/oleObject" Target="../embeddings/oleObject12.bin"/><Relationship Id="rId5" Type="http://schemas.openxmlformats.org/officeDocument/2006/relationships/tags" Target="../tags/tag194.xml"/><Relationship Id="rId15" Type="http://schemas.openxmlformats.org/officeDocument/2006/relationships/tags" Target="../tags/tag204.xml"/><Relationship Id="rId23" Type="http://schemas.openxmlformats.org/officeDocument/2006/relationships/notesSlide" Target="../notesSlides/notesSlide2.xml"/><Relationship Id="rId10" Type="http://schemas.openxmlformats.org/officeDocument/2006/relationships/tags" Target="../tags/tag199.xml"/><Relationship Id="rId19" Type="http://schemas.openxmlformats.org/officeDocument/2006/relationships/tags" Target="../tags/tag208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Relationship Id="rId22" Type="http://schemas.openxmlformats.org/officeDocument/2006/relationships/slideLayout" Target="../slideLayouts/slideLayout2.xml"/><Relationship Id="rId27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4.jpeg"/><Relationship Id="rId2" Type="http://schemas.openxmlformats.org/officeDocument/2006/relationships/tags" Target="../tags/tag211.xml"/><Relationship Id="rId1" Type="http://schemas.openxmlformats.org/officeDocument/2006/relationships/vmlDrawing" Target="../drawings/vmlDrawing7.vml"/><Relationship Id="rId6" Type="http://schemas.openxmlformats.org/officeDocument/2006/relationships/tags" Target="../tags/tag215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214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13" Type="http://schemas.openxmlformats.org/officeDocument/2006/relationships/tags" Target="../tags/tag230.xml"/><Relationship Id="rId18" Type="http://schemas.openxmlformats.org/officeDocument/2006/relationships/tags" Target="../tags/tag235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20.xml"/><Relationship Id="rId21" Type="http://schemas.openxmlformats.org/officeDocument/2006/relationships/tags" Target="../tags/tag238.xml"/><Relationship Id="rId7" Type="http://schemas.openxmlformats.org/officeDocument/2006/relationships/tags" Target="../tags/tag224.xml"/><Relationship Id="rId12" Type="http://schemas.openxmlformats.org/officeDocument/2006/relationships/tags" Target="../tags/tag229.xml"/><Relationship Id="rId17" Type="http://schemas.openxmlformats.org/officeDocument/2006/relationships/tags" Target="../tags/tag234.xml"/><Relationship Id="rId25" Type="http://schemas.openxmlformats.org/officeDocument/2006/relationships/tags" Target="../tags/tag242.xml"/><Relationship Id="rId2" Type="http://schemas.openxmlformats.org/officeDocument/2006/relationships/tags" Target="../tags/tag219.xml"/><Relationship Id="rId16" Type="http://schemas.openxmlformats.org/officeDocument/2006/relationships/tags" Target="../tags/tag233.xml"/><Relationship Id="rId20" Type="http://schemas.openxmlformats.org/officeDocument/2006/relationships/tags" Target="../tags/tag237.xml"/><Relationship Id="rId29" Type="http://schemas.openxmlformats.org/officeDocument/2006/relationships/oleObject" Target="../embeddings/oleObject17.bin"/><Relationship Id="rId1" Type="http://schemas.openxmlformats.org/officeDocument/2006/relationships/vmlDrawing" Target="../drawings/vmlDrawing8.vml"/><Relationship Id="rId6" Type="http://schemas.openxmlformats.org/officeDocument/2006/relationships/tags" Target="../tags/tag223.xml"/><Relationship Id="rId11" Type="http://schemas.openxmlformats.org/officeDocument/2006/relationships/tags" Target="../tags/tag228.xml"/><Relationship Id="rId24" Type="http://schemas.openxmlformats.org/officeDocument/2006/relationships/tags" Target="../tags/tag241.xml"/><Relationship Id="rId5" Type="http://schemas.openxmlformats.org/officeDocument/2006/relationships/tags" Target="../tags/tag222.xml"/><Relationship Id="rId15" Type="http://schemas.openxmlformats.org/officeDocument/2006/relationships/tags" Target="../tags/tag232.xml"/><Relationship Id="rId23" Type="http://schemas.openxmlformats.org/officeDocument/2006/relationships/tags" Target="../tags/tag240.xml"/><Relationship Id="rId28" Type="http://schemas.openxmlformats.org/officeDocument/2006/relationships/image" Target="../media/image4.jpeg"/><Relationship Id="rId10" Type="http://schemas.openxmlformats.org/officeDocument/2006/relationships/tags" Target="../tags/tag227.xml"/><Relationship Id="rId19" Type="http://schemas.openxmlformats.org/officeDocument/2006/relationships/tags" Target="../tags/tag236.xml"/><Relationship Id="rId4" Type="http://schemas.openxmlformats.org/officeDocument/2006/relationships/tags" Target="../tags/tag221.xml"/><Relationship Id="rId9" Type="http://schemas.openxmlformats.org/officeDocument/2006/relationships/tags" Target="../tags/tag226.xml"/><Relationship Id="rId14" Type="http://schemas.openxmlformats.org/officeDocument/2006/relationships/tags" Target="../tags/tag231.xml"/><Relationship Id="rId22" Type="http://schemas.openxmlformats.org/officeDocument/2006/relationships/tags" Target="../tags/tag239.xml"/><Relationship Id="rId27" Type="http://schemas.openxmlformats.org/officeDocument/2006/relationships/oleObject" Target="../embeddings/oleObject16.bin"/><Relationship Id="rId30" Type="http://schemas.openxmlformats.org/officeDocument/2006/relationships/oleObject" Target="../embeddings/oleObject18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image" Target="../media/image4.jpeg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oleObject" Target="../embeddings/oleObject19.bin"/><Relationship Id="rId2" Type="http://schemas.openxmlformats.org/officeDocument/2006/relationships/tags" Target="../tags/tag243.xml"/><Relationship Id="rId1" Type="http://schemas.openxmlformats.org/officeDocument/2006/relationships/vmlDrawing" Target="../drawings/vmlDrawing9.vml"/><Relationship Id="rId6" Type="http://schemas.openxmlformats.org/officeDocument/2006/relationships/tags" Target="../tags/tag247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46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55570" y="946116"/>
            <a:ext cx="7959834" cy="2984103"/>
          </a:xfrm>
        </p:spPr>
        <p:txBody>
          <a:bodyPr rtlCol="0">
            <a:noAutofit/>
          </a:bodyPr>
          <a:lstStyle/>
          <a:p>
            <a:pPr eaLnBrk="1" hangingPunct="1">
              <a:defRPr/>
            </a:pPr>
            <a:r>
              <a:rPr lang="ru-RU" sz="3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Факторы сдерживания развития бизнеса в законодательной и правовой сферах</a:t>
            </a:r>
          </a:p>
        </p:txBody>
      </p:sp>
      <p:graphicFrame>
        <p:nvGraphicFramePr>
          <p:cNvPr id="362498" name="Object 2"/>
          <p:cNvGraphicFramePr>
            <a:graphicFrameLocks noChangeAspect="1"/>
          </p:cNvGraphicFramePr>
          <p:nvPr/>
        </p:nvGraphicFramePr>
        <p:xfrm>
          <a:off x="6715140" y="5786454"/>
          <a:ext cx="2235200" cy="762000"/>
        </p:xfrm>
        <a:graphic>
          <a:graphicData uri="http://schemas.openxmlformats.org/presentationml/2006/ole">
            <p:oleObj spid="_x0000_s38914" name="Picture" r:id="rId6" imgW="1846465" imgH="638644" progId="Word.Picture.8">
              <p:embed/>
            </p:oleObj>
          </a:graphicData>
        </a:graphic>
      </p:graphicFrame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-6350" y="5214950"/>
            <a:ext cx="9144000" cy="31750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57213" y="544473"/>
            <a:ext cx="7229574" cy="1063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Заседание секции по развитию малого бизнеса Экспертного совета фракции Справедливая Россия в Государственной Думе Российской Федерации</a:t>
            </a:r>
          </a:p>
        </p:txBody>
      </p:sp>
      <p:sp>
        <p:nvSpPr>
          <p:cNvPr id="9" name="Rectangle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10157" y="3063870"/>
            <a:ext cx="3870377" cy="2044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endParaRPr lang="ru-RU" sz="1400" dirty="0" smtClean="0">
              <a:solidFill>
                <a:srgbClr val="984807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84807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Лугачев Евгений</a:t>
            </a:r>
          </a:p>
          <a:p>
            <a:pPr lvl="0">
              <a:defRPr/>
            </a:pPr>
            <a:r>
              <a:rPr lang="ru-RU" sz="14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Эксперт «НИСИПП»</a:t>
            </a:r>
          </a:p>
          <a:p>
            <a:pPr lvl="0"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984807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Старший аналитик </a:t>
            </a:r>
            <a:r>
              <a:rPr lang="en-US" sz="1400" noProof="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O</a:t>
            </a:r>
            <a:r>
              <a:rPr lang="en-US" sz="1400" baseline="-250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2</a:t>
            </a:r>
            <a:r>
              <a:rPr lang="en-US" sz="14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Consulting</a:t>
            </a:r>
          </a:p>
          <a:p>
            <a:pPr lvl="0">
              <a:defRPr/>
            </a:pPr>
            <a:r>
              <a:rPr lang="en-US" sz="14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lugachev_e@o2consulting.ru +7 (</a:t>
            </a:r>
            <a:r>
              <a:rPr lang="ru-RU" sz="14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915</a:t>
            </a:r>
            <a:r>
              <a:rPr lang="en-US" sz="14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) </a:t>
            </a:r>
            <a:r>
              <a:rPr lang="ru-RU" sz="1400" dirty="0" smtClean="0">
                <a:solidFill>
                  <a:srgbClr val="984807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0636083</a:t>
            </a:r>
            <a:endParaRPr kumimoji="0" lang="en-US" sz="1600" i="0" u="none" strike="noStrike" kern="1200" cap="none" spc="0" normalizeH="0" baseline="0" noProof="0" dirty="0" smtClean="0">
              <a:ln>
                <a:noFill/>
              </a:ln>
              <a:solidFill>
                <a:srgbClr val="984807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pic>
        <p:nvPicPr>
          <p:cNvPr id="11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3398" y="5875371"/>
            <a:ext cx="3956037" cy="65723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Заголовок 1"/>
          <p:cNvSpPr>
            <a:spLocks noGrp="1"/>
          </p:cNvSpPr>
          <p:nvPr>
            <p:ph type="ctrTitle"/>
          </p:nvPr>
        </p:nvSpPr>
        <p:spPr>
          <a:xfrm>
            <a:off x="482544" y="106317"/>
            <a:ext cx="8280400" cy="1163641"/>
          </a:xfrm>
        </p:spPr>
        <p:txBody>
          <a:bodyPr/>
          <a:lstStyle/>
          <a:p>
            <a:pPr algn="ctr"/>
            <a:r>
              <a:rPr lang="ru-RU" sz="3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пасибо за внимание!</a:t>
            </a:r>
          </a:p>
        </p:txBody>
      </p:sp>
      <p:graphicFrame>
        <p:nvGraphicFramePr>
          <p:cNvPr id="4098" name="Object 1"/>
          <p:cNvGraphicFramePr>
            <a:graphicFrameLocks noChangeAspect="1"/>
          </p:cNvGraphicFramePr>
          <p:nvPr/>
        </p:nvGraphicFramePr>
        <p:xfrm>
          <a:off x="6500826" y="5857892"/>
          <a:ext cx="2236788" cy="773112"/>
        </p:xfrm>
        <a:graphic>
          <a:graphicData uri="http://schemas.openxmlformats.org/presentationml/2006/ole">
            <p:oleObj spid="_x0000_s131074" name="Picture" r:id="rId3" imgW="1846465" imgH="638644" progId="Word.Picture.8">
              <p:embed/>
            </p:oleObj>
          </a:graphicData>
        </a:graphic>
      </p:graphicFrame>
      <p:sp>
        <p:nvSpPr>
          <p:cNvPr id="1031" name="Rectangle 18"/>
          <p:cNvSpPr>
            <a:spLocks noChangeArrowheads="1"/>
          </p:cNvSpPr>
          <p:nvPr/>
        </p:nvSpPr>
        <p:spPr bwMode="auto">
          <a:xfrm>
            <a:off x="0" y="1274733"/>
            <a:ext cx="9144000" cy="31750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Calibri" pitchFamily="34" charset="0"/>
              <a:cs typeface="+mn-cs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0" y="1603350"/>
            <a:ext cx="9144000" cy="1163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800" b="1" dirty="0" smtClean="0">
                <a:solidFill>
                  <a:srgbClr val="00519A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Услуги и аналитические продукты для банков и ОИВ</a:t>
            </a:r>
          </a:p>
        </p:txBody>
      </p:sp>
      <p:pic>
        <p:nvPicPr>
          <p:cNvPr id="9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648" y="5948397"/>
            <a:ext cx="3211038" cy="533464"/>
          </a:xfrm>
          <a:prstGeom prst="rect">
            <a:avLst/>
          </a:prstGeom>
          <a:noFill/>
        </p:spPr>
      </p:pic>
      <p:sp>
        <p:nvSpPr>
          <p:cNvPr id="11" name="Содержимое 2"/>
          <p:cNvSpPr txBox="1">
            <a:spLocks/>
          </p:cNvSpPr>
          <p:nvPr/>
        </p:nvSpPr>
        <p:spPr>
          <a:xfrm>
            <a:off x="190440" y="2589201"/>
            <a:ext cx="8726607" cy="310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  <a:latin typeface="Times New Roman" pitchFamily="18" charset="0"/>
                <a:cs typeface="Times New Roman" pitchFamily="18" charset="0"/>
              </a:rPr>
              <a:t>Услуги по разработке мер поддержки МСП для банков и ОИВ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  <a:latin typeface="Times New Roman" pitchFamily="18" charset="0"/>
                <a:cs typeface="Times New Roman" pitchFamily="18" charset="0"/>
              </a:rPr>
              <a:t>Услуги по развитию инновационной инфраструктуры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  <a:latin typeface="Times New Roman" pitchFamily="18" charset="0"/>
                <a:cs typeface="Times New Roman" pitchFamily="18" charset="0"/>
              </a:rPr>
              <a:t>Проведение оценки регулирующего воздействия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C00000"/>
                </a:solidFill>
                <a:latin typeface="Etelka Light Pro" pitchFamily="50" charset="0"/>
                <a:cs typeface="Arial" pitchFamily="34" charset="0"/>
              </a:rPr>
              <a:t>Издание ежеквартального мониторинга МСП в разрезе видов деятельности, регионов и городов  (</a:t>
            </a:r>
            <a:r>
              <a:rPr lang="en-US" dirty="0" smtClean="0">
                <a:solidFill>
                  <a:srgbClr val="C00000"/>
                </a:solidFill>
                <a:latin typeface="Etelka Light Pro" pitchFamily="50" charset="0"/>
                <a:cs typeface="Arial" pitchFamily="34" charset="0"/>
              </a:rPr>
              <a:t>NEW)</a:t>
            </a:r>
            <a:endParaRPr lang="ru-RU" dirty="0">
              <a:solidFill>
                <a:srgbClr val="C00000"/>
              </a:solidFill>
              <a:latin typeface="Etelka Light Pro" pitchFamily="50" charset="0"/>
              <a:cs typeface="Arial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6738" name="think-cell Slide" r:id="rId14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8" name="Арка 137"/>
          <p:cNvSpPr/>
          <p:nvPr>
            <p:custDataLst>
              <p:tags r:id="rId3"/>
            </p:custDataLst>
          </p:nvPr>
        </p:nvSpPr>
        <p:spPr>
          <a:xfrm>
            <a:off x="-5544194" y="13071"/>
            <a:ext cx="7559074" cy="7103742"/>
          </a:xfrm>
          <a:prstGeom prst="blockArc">
            <a:avLst>
              <a:gd name="adj1" fmla="val 18275625"/>
              <a:gd name="adj2" fmla="val 3323438"/>
              <a:gd name="adj3" fmla="val 10"/>
            </a:avLst>
          </a:prstGeom>
          <a:solidFill>
            <a:schemeClr val="accent6">
              <a:lumMod val="75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endParaRPr lang="ru-RU" sz="1000" dirty="0" smtClean="0">
              <a:solidFill>
                <a:schemeClr val="tx2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774648" y="-32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труктура выступления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116" name="Прямоугольник 115"/>
          <p:cNvSpPr/>
          <p:nvPr>
            <p:custDataLst>
              <p:tags r:id="rId10"/>
            </p:custDataLst>
          </p:nvPr>
        </p:nvSpPr>
        <p:spPr>
          <a:xfrm>
            <a:off x="2535147" y="3011153"/>
            <a:ext cx="6608853" cy="8356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Законодательные изменения, вступившие в силу</a:t>
            </a:r>
          </a:p>
        </p:txBody>
      </p:sp>
      <p:sp>
        <p:nvSpPr>
          <p:cNvPr id="136" name="Прямоугольник 135"/>
          <p:cNvSpPr/>
          <p:nvPr>
            <p:custDataLst>
              <p:tags r:id="rId11"/>
            </p:custDataLst>
          </p:nvPr>
        </p:nvSpPr>
        <p:spPr>
          <a:xfrm>
            <a:off x="2106391" y="4820599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Законодательные изменения, которые вступят и могут вступить в силу</a:t>
            </a:r>
          </a:p>
        </p:txBody>
      </p:sp>
      <p:pic>
        <p:nvPicPr>
          <p:cNvPr id="116740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445130" y="2987664"/>
            <a:ext cx="907452" cy="900000"/>
          </a:xfrm>
          <a:prstGeom prst="ellipse">
            <a:avLst/>
          </a:prstGeom>
          <a:ln w="19050" cap="rnd">
            <a:solidFill>
              <a:srgbClr val="E46C0A"/>
            </a:solidFill>
          </a:ln>
          <a:effectLst/>
        </p:spPr>
      </p:pic>
      <p:pic>
        <p:nvPicPr>
          <p:cNvPr id="116741" name="Picture 5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66752" y="4816494"/>
            <a:ext cx="897984" cy="900000"/>
          </a:xfrm>
          <a:prstGeom prst="ellipse">
            <a:avLst/>
          </a:prstGeom>
          <a:ln w="19050" cap="rnd">
            <a:solidFill>
              <a:srgbClr val="E46C0A"/>
            </a:solidFill>
          </a:ln>
          <a:effectLst/>
        </p:spPr>
      </p:pic>
      <p:sp>
        <p:nvSpPr>
          <p:cNvPr id="25" name="Прямоугольник 24"/>
          <p:cNvSpPr/>
          <p:nvPr>
            <p:custDataLst>
              <p:tags r:id="rId12"/>
            </p:custDataLst>
          </p:nvPr>
        </p:nvSpPr>
        <p:spPr>
          <a:xfrm>
            <a:off x="1979577" y="1096273"/>
            <a:ext cx="6097671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Динамика развития малого и среднего предпринимательства РФ</a:t>
            </a:r>
          </a:p>
        </p:txBody>
      </p:sp>
      <p:pic>
        <p:nvPicPr>
          <p:cNvPr id="116742" name="Picture 6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84187" y="1092168"/>
            <a:ext cx="900000" cy="966667"/>
          </a:xfrm>
          <a:prstGeom prst="ellipse">
            <a:avLst/>
          </a:prstGeom>
          <a:ln w="19050" cap="rnd">
            <a:solidFill>
              <a:srgbClr val="E46C0A"/>
            </a:solidFill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882" name="think-cell Slide" r:id="rId63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28596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в т.ч. ИП</a:t>
            </a:r>
          </a:p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: оценка АНО «НИСИПП» на основе данных Росстат</a:t>
            </a: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28596" y="-3222"/>
            <a:ext cx="6316749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Динамика развития МСП РФ (1</a:t>
            </a:r>
            <a:r>
              <a:rPr lang="en-US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/</a:t>
            </a: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b="1" dirty="0" smtClean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Наблюдается негативная динамика численности МСП </a:t>
            </a: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8"/>
            </p:custDataLst>
          </p:nvPr>
        </p:nvSpPr>
        <p:spPr>
          <a:xfrm>
            <a:off x="4973643" y="1311246"/>
            <a:ext cx="3763964" cy="2117754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9"/>
            </p:custDataLst>
          </p:nvPr>
        </p:nvSpPr>
        <p:spPr>
          <a:xfrm>
            <a:off x="4791078" y="1251224"/>
            <a:ext cx="41624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 итогам 2013 г. в половине федеральных округов наблюдалось падение числа МСП*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3" name="Объект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12317884"/>
              </p:ext>
            </p:extLst>
          </p:nvPr>
        </p:nvGraphicFramePr>
        <p:xfrm>
          <a:off x="4737100" y="2270125"/>
          <a:ext cx="4267290" cy="2248020"/>
        </p:xfrm>
        <a:graphic>
          <a:graphicData uri="http://schemas.openxmlformats.org/presentationml/2006/ole">
            <p:oleObj spid="_x0000_s122883" name="Диаграмма" r:id="rId65" imgW="4267290" imgH="2248020" progId="MSGraph.Chart.8">
              <p:embed followColorScheme="full"/>
            </p:oleObj>
          </a:graphicData>
        </a:graphic>
      </p:graphicFrame>
      <p:cxnSp>
        <p:nvCxnSpPr>
          <p:cNvPr id="228" name="Прямая соединительная линия 227"/>
          <p:cNvCxnSpPr/>
          <p:nvPr>
            <p:custDataLst>
              <p:tags r:id="rId10"/>
            </p:custDataLst>
          </p:nvPr>
        </p:nvCxnSpPr>
        <p:spPr bwMode="auto">
          <a:xfrm>
            <a:off x="4832350" y="2955925"/>
            <a:ext cx="18446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Прямая соединительная линия 228"/>
          <p:cNvCxnSpPr/>
          <p:nvPr>
            <p:custDataLst>
              <p:tags r:id="rId11"/>
            </p:custDataLst>
          </p:nvPr>
        </p:nvCxnSpPr>
        <p:spPr bwMode="auto">
          <a:xfrm>
            <a:off x="7045325" y="2955925"/>
            <a:ext cx="1854200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7924800" y="2243137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E8C2829B-FA10-4F4D-BB7A-A1980330C0A0}" type="datetime'''''''''''''''''''''''''1'''',8''''''''''''%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1,8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3"/>
            </p:custDataLst>
          </p:nvPr>
        </p:nvSpPr>
        <p:spPr bwMode="auto">
          <a:xfrm>
            <a:off x="7510462" y="2262187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6BA45298-B9E3-45FB-8E6B-F225E0E3D297}" type="datetime'''''1'''''''''''''''',7''''''%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1,7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4"/>
            </p:custDataLst>
          </p:nvPr>
        </p:nvSpPr>
        <p:spPr bwMode="auto">
          <a:xfrm>
            <a:off x="8339137" y="2157412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8A2A0C8F-BEDF-4AD2-9CA1-5FCB508DB212}" type="datetime'''2,2''''%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,2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5"/>
            </p:custDataLst>
          </p:nvPr>
        </p:nvSpPr>
        <p:spPr bwMode="auto">
          <a:xfrm>
            <a:off x="4999037" y="299085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F813C284-7764-4BE7-9248-515E8D7A811F}" type="datetime'''''''''-0'''''''''''''''''''''''''''',''''9''''''%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0,9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6"/>
            </p:custDataLst>
          </p:nvPr>
        </p:nvSpPr>
        <p:spPr bwMode="auto">
          <a:xfrm>
            <a:off x="6242050" y="304800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D5471428-DE59-4F79-8B31-CD97271586B7}" type="datetime'''''-''''''''''''''''''''1'''''''''''''''',''''''1''''%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1,1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7"/>
            </p:custDataLst>
          </p:nvPr>
        </p:nvSpPr>
        <p:spPr bwMode="auto">
          <a:xfrm>
            <a:off x="7096125" y="2357437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BAD99C48-7004-43BB-B8CA-8E3F2B8F7B79}" type="datetime'''''''''1'''',''''''''''''''2''''''''''''%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1,2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8"/>
            </p:custDataLst>
          </p:nvPr>
        </p:nvSpPr>
        <p:spPr bwMode="auto">
          <a:xfrm>
            <a:off x="6681787" y="2828925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CA3C835C-AA98-44D9-947F-400F44FACB80}" type="datetime'''0'''''''''''',''0''''''''''''%''''''''''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0,0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9"/>
            </p:custDataLst>
          </p:nvPr>
        </p:nvSpPr>
        <p:spPr bwMode="auto">
          <a:xfrm>
            <a:off x="5827712" y="344805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6CA364A4-FD29-4D5B-A82F-713B8E2F0F17}" type="datetime'''''''''''''''''''-''''''''''''''''3,''''2''''''%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3,2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0"/>
            </p:custDataLst>
          </p:nvPr>
        </p:nvSpPr>
        <p:spPr bwMode="auto">
          <a:xfrm>
            <a:off x="5413375" y="443865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1A146760-975B-4CAC-B033-6FD94CC43381}" type="datetime'-''''''8'''''''''''''''''''''',''''''''3''''''''''%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8,3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2" name="Прямоугольник 41"/>
          <p:cNvSpPr/>
          <p:nvPr>
            <p:custDataLst>
              <p:tags r:id="rId21"/>
            </p:custDataLst>
          </p:nvPr>
        </p:nvSpPr>
        <p:spPr bwMode="auto">
          <a:xfrm>
            <a:off x="6902450" y="5732462"/>
            <a:ext cx="214312" cy="160337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3" name="Прямоугольник 42"/>
          <p:cNvSpPr/>
          <p:nvPr>
            <p:custDataLst>
              <p:tags r:id="rId22"/>
            </p:custDataLst>
          </p:nvPr>
        </p:nvSpPr>
        <p:spPr bwMode="auto">
          <a:xfrm>
            <a:off x="6902450" y="5499100"/>
            <a:ext cx="214312" cy="160337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5" name="Прямоугольник 44"/>
          <p:cNvSpPr/>
          <p:nvPr>
            <p:custDataLst>
              <p:tags r:id="rId23"/>
            </p:custDataLst>
          </p:nvPr>
        </p:nvSpPr>
        <p:spPr bwMode="auto">
          <a:xfrm>
            <a:off x="6902450" y="5032375"/>
            <a:ext cx="214312" cy="160337"/>
          </a:xfrm>
          <a:prstGeom prst="rect">
            <a:avLst/>
          </a:prstGeom>
          <a:solidFill>
            <a:srgbClr val="3BA2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4" name="Прямоугольник 43"/>
          <p:cNvSpPr/>
          <p:nvPr>
            <p:custDataLst>
              <p:tags r:id="rId24"/>
            </p:custDataLst>
          </p:nvPr>
        </p:nvSpPr>
        <p:spPr bwMode="auto">
          <a:xfrm>
            <a:off x="6902450" y="5265737"/>
            <a:ext cx="214312" cy="160337"/>
          </a:xfrm>
          <a:prstGeom prst="rect">
            <a:avLst/>
          </a:prstGeom>
          <a:solidFill>
            <a:srgbClr val="79B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7" name="Прямоугольник 46"/>
          <p:cNvSpPr/>
          <p:nvPr>
            <p:custDataLst>
              <p:tags r:id="rId25"/>
            </p:custDataLst>
          </p:nvPr>
        </p:nvSpPr>
        <p:spPr bwMode="auto">
          <a:xfrm>
            <a:off x="5046662" y="5965825"/>
            <a:ext cx="214312" cy="160337"/>
          </a:xfrm>
          <a:prstGeom prst="rect">
            <a:avLst/>
          </a:prstGeom>
          <a:solidFill>
            <a:srgbClr val="0076E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8" name="Прямоугольник 47"/>
          <p:cNvSpPr/>
          <p:nvPr>
            <p:custDataLst>
              <p:tags r:id="rId26"/>
            </p:custDataLst>
          </p:nvPr>
        </p:nvSpPr>
        <p:spPr bwMode="auto">
          <a:xfrm>
            <a:off x="5046662" y="5732462"/>
            <a:ext cx="214312" cy="160337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9" name="Прямоугольник 48"/>
          <p:cNvSpPr/>
          <p:nvPr>
            <p:custDataLst>
              <p:tags r:id="rId27"/>
            </p:custDataLst>
          </p:nvPr>
        </p:nvSpPr>
        <p:spPr bwMode="auto">
          <a:xfrm>
            <a:off x="5046662" y="5499100"/>
            <a:ext cx="214312" cy="1603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0" name="Прямоугольник 49"/>
          <p:cNvSpPr/>
          <p:nvPr>
            <p:custDataLst>
              <p:tags r:id="rId28"/>
            </p:custDataLst>
          </p:nvPr>
        </p:nvSpPr>
        <p:spPr bwMode="auto">
          <a:xfrm>
            <a:off x="5046662" y="5265737"/>
            <a:ext cx="214312" cy="160337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1" name="Прямоугольник 50"/>
          <p:cNvSpPr/>
          <p:nvPr>
            <p:custDataLst>
              <p:tags r:id="rId29"/>
            </p:custDataLst>
          </p:nvPr>
        </p:nvSpPr>
        <p:spPr bwMode="auto">
          <a:xfrm>
            <a:off x="5046662" y="5032375"/>
            <a:ext cx="214312" cy="160337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7" name="Прямоугольник 56"/>
          <p:cNvSpPr/>
          <p:nvPr>
            <p:custDataLst>
              <p:tags r:id="rId30"/>
            </p:custDataLst>
          </p:nvPr>
        </p:nvSpPr>
        <p:spPr bwMode="auto">
          <a:xfrm>
            <a:off x="7167562" y="5027612"/>
            <a:ext cx="1530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F4821E87-B2CC-42AF-9767-EE6B427491C4}" type="datetime'''''''С''''ев''ер''''о-''Кав''''ка''''''''''зс''ки''й ''''Ф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еверо-Кавказ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31"/>
            </p:custDataLst>
          </p:nvPr>
        </p:nvSpPr>
        <p:spPr bwMode="auto">
          <a:xfrm>
            <a:off x="7167562" y="5260975"/>
            <a:ext cx="9715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64B8D024-F210-40DF-8D4E-A3EA251070DC}" type="datetime'''''''''''''''Ур''ал''''''ь''ск''''ий'''''''''' ''Ф''''''О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Ураль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32"/>
            </p:custDataLst>
          </p:nvPr>
        </p:nvSpPr>
        <p:spPr bwMode="auto">
          <a:xfrm>
            <a:off x="7167562" y="5494337"/>
            <a:ext cx="1417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E88D58A2-11C8-4CC9-B664-F808B67BD348}" type="datetime'''''Се''''веро-''З''''''''апад''''''ный'''' ''Ф''О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еверо-Запад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33"/>
            </p:custDataLst>
          </p:nvPr>
        </p:nvSpPr>
        <p:spPr bwMode="auto">
          <a:xfrm>
            <a:off x="7167562" y="5727700"/>
            <a:ext cx="14351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FDFC6771-AE4B-4BA9-B893-F0F1A58A9CA5}" type="datetime'''Д''альн''''ев''''''''''''о''''сточ''''н''ы''''''''й ФО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Дальневосточ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34"/>
            </p:custDataLst>
          </p:nvPr>
        </p:nvSpPr>
        <p:spPr bwMode="auto">
          <a:xfrm>
            <a:off x="5311775" y="5027612"/>
            <a:ext cx="14890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0DD6C1A-61FA-42B7-9BBE-77564ED4A12B}" type="datetime'''''Рос''''''''''''''с''и''йска''''''я'' ''Федер''а''''ц''ия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Российская Федерация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35"/>
            </p:custDataLst>
          </p:nvPr>
        </p:nvSpPr>
        <p:spPr bwMode="auto">
          <a:xfrm>
            <a:off x="5311775" y="5260975"/>
            <a:ext cx="7953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F21672E-DC03-495D-B336-BB57124FCA76}" type="datetime'Ю''''''ж''''''''''н''''''ый ''''''''''Ф''О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Юж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36"/>
            </p:custDataLst>
          </p:nvPr>
        </p:nvSpPr>
        <p:spPr bwMode="auto">
          <a:xfrm>
            <a:off x="5311775" y="5961062"/>
            <a:ext cx="1149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0ECB100-24A0-45C0-9F53-AD13A966C31D}" type="datetime'''Ц''''е''н''''''''т''''ра''''''''''ль''н''''ый'' ''''Ф''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Централь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37"/>
            </p:custDataLst>
          </p:nvPr>
        </p:nvSpPr>
        <p:spPr bwMode="auto">
          <a:xfrm>
            <a:off x="5311775" y="5727700"/>
            <a:ext cx="990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835F4BE6-2C38-4357-98AF-14D209674E89}" type="datetime'''''''''''С''иб''''''и''''рс''''к''''''''''ий'' Ф''''''''''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ибир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0" name="Прямоугольник 59"/>
          <p:cNvSpPr/>
          <p:nvPr>
            <p:custDataLst>
              <p:tags r:id="rId38"/>
            </p:custDataLst>
          </p:nvPr>
        </p:nvSpPr>
        <p:spPr bwMode="auto">
          <a:xfrm>
            <a:off x="5311775" y="5494337"/>
            <a:ext cx="11684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9CC6EA62-88FD-42FF-94B9-551CFBDDD0C0}" type="datetime'П''''ри''в''''''о''''''''''л''жс''к''''''и''й'''''''' Ф''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Приволж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198" name="Объект 197"/>
          <p:cNvGraphicFramePr>
            <a:graphicFrameLocks noChangeAspect="1"/>
          </p:cNvGraphicFramePr>
          <p:nvPr/>
        </p:nvGraphicFramePr>
        <p:xfrm>
          <a:off x="1012825" y="2805112"/>
          <a:ext cx="3209990" cy="1771740"/>
        </p:xfrm>
        <a:graphic>
          <a:graphicData uri="http://schemas.openxmlformats.org/presentationml/2006/ole">
            <p:oleObj spid="_x0000_s122887" name="Диаграмма" r:id="rId66" imgW="3209990" imgH="1771740" progId="MSGraph.Chart.8">
              <p:embed followColorScheme="full"/>
            </p:oleObj>
          </a:graphicData>
        </a:graphic>
      </p:graphicFrame>
      <p:cxnSp>
        <p:nvCxnSpPr>
          <p:cNvPr id="230" name="Прямая соединительная линия 229"/>
          <p:cNvCxnSpPr/>
          <p:nvPr>
            <p:custDataLst>
              <p:tags r:id="rId39"/>
            </p:custDataLst>
          </p:nvPr>
        </p:nvCxnSpPr>
        <p:spPr bwMode="auto">
          <a:xfrm flipV="1">
            <a:off x="1484312" y="2593975"/>
            <a:ext cx="0" cy="3841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Прямая соединительная линия 230"/>
          <p:cNvCxnSpPr/>
          <p:nvPr>
            <p:custDataLst>
              <p:tags r:id="rId40"/>
            </p:custDataLst>
          </p:nvPr>
        </p:nvCxnSpPr>
        <p:spPr bwMode="auto">
          <a:xfrm>
            <a:off x="1484312" y="2593975"/>
            <a:ext cx="7143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2" name="Прямая соединительная линия 231"/>
          <p:cNvCxnSpPr/>
          <p:nvPr>
            <p:custDataLst>
              <p:tags r:id="rId41"/>
            </p:custDataLst>
          </p:nvPr>
        </p:nvCxnSpPr>
        <p:spPr bwMode="auto">
          <a:xfrm>
            <a:off x="2198687" y="2593975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8" name="Прямая соединительная линия 237"/>
          <p:cNvCxnSpPr/>
          <p:nvPr>
            <p:custDataLst>
              <p:tags r:id="rId42"/>
            </p:custDataLst>
          </p:nvPr>
        </p:nvCxnSpPr>
        <p:spPr bwMode="auto">
          <a:xfrm>
            <a:off x="3741737" y="2508250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Прямая соединительная линия 236"/>
          <p:cNvCxnSpPr/>
          <p:nvPr>
            <p:custDataLst>
              <p:tags r:id="rId43"/>
            </p:custDataLst>
          </p:nvPr>
        </p:nvCxnSpPr>
        <p:spPr bwMode="auto">
          <a:xfrm>
            <a:off x="3027362" y="2508250"/>
            <a:ext cx="7143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Прямая соединительная линия 235"/>
          <p:cNvCxnSpPr/>
          <p:nvPr>
            <p:custDataLst>
              <p:tags r:id="rId44"/>
            </p:custDataLst>
          </p:nvPr>
        </p:nvCxnSpPr>
        <p:spPr bwMode="auto">
          <a:xfrm flipV="1">
            <a:off x="3027362" y="2508250"/>
            <a:ext cx="0" cy="1460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Прямая соединительная линия 234"/>
          <p:cNvCxnSpPr/>
          <p:nvPr>
            <p:custDataLst>
              <p:tags r:id="rId45"/>
            </p:custDataLst>
          </p:nvPr>
        </p:nvCxnSpPr>
        <p:spPr bwMode="auto">
          <a:xfrm>
            <a:off x="2951162" y="2498725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Прямая соединительная линия 233"/>
          <p:cNvCxnSpPr/>
          <p:nvPr>
            <p:custDataLst>
              <p:tags r:id="rId46"/>
            </p:custDataLst>
          </p:nvPr>
        </p:nvCxnSpPr>
        <p:spPr bwMode="auto">
          <a:xfrm>
            <a:off x="2274887" y="2498725"/>
            <a:ext cx="6762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Прямая соединительная линия 232"/>
          <p:cNvCxnSpPr/>
          <p:nvPr>
            <p:custDataLst>
              <p:tags r:id="rId47"/>
            </p:custDataLst>
          </p:nvPr>
        </p:nvCxnSpPr>
        <p:spPr bwMode="auto">
          <a:xfrm flipV="1">
            <a:off x="2274887" y="2498725"/>
            <a:ext cx="0" cy="250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0" name="Овал 209"/>
          <p:cNvSpPr/>
          <p:nvPr>
            <p:custDataLst>
              <p:tags r:id="rId48"/>
            </p:custDataLst>
          </p:nvPr>
        </p:nvSpPr>
        <p:spPr bwMode="auto">
          <a:xfrm>
            <a:off x="1563687" y="2476500"/>
            <a:ext cx="55562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E6D4F5B5-6A51-4E9C-A106-1ACAD5335E38}" type="datetime'''''''''+''''''''''''1''''9''''''''''''''''''%''''''''''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+19%</a:t>
            </a:fld>
            <a:endParaRPr lang="ru-RU" sz="1200" b="1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49"/>
            </p:custDataLst>
          </p:nvPr>
        </p:nvSpPr>
        <p:spPr bwMode="auto">
          <a:xfrm>
            <a:off x="3582987" y="4516437"/>
            <a:ext cx="3175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BAE9D76F-9307-410D-BE79-70DCCC3528BB}" type="datetime'''''''''''''''''2''''''0''1''''''''''''''''''''''3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3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50"/>
            </p:custDataLst>
          </p:nvPr>
        </p:nvSpPr>
        <p:spPr bwMode="auto">
          <a:xfrm>
            <a:off x="2078037" y="4516437"/>
            <a:ext cx="317500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4D2D6C8F-36E4-430F-A890-0B7F897DCEF7}" type="datetime'20''''''''''1''''''''''''''''''''''''''''''''''1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1</a:t>
            </a:fld>
            <a:endParaRPr lang="ru-RU" sz="12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4" name="Овал 213"/>
          <p:cNvSpPr/>
          <p:nvPr>
            <p:custDataLst>
              <p:tags r:id="rId51"/>
            </p:custDataLst>
          </p:nvPr>
        </p:nvSpPr>
        <p:spPr bwMode="auto">
          <a:xfrm>
            <a:off x="2389187" y="2381250"/>
            <a:ext cx="4476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A848D463-4B88-4109-AD50-CD32BB922971}" type="datetime'''+''''''''''''''''''''''''''''''''''''7''%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+7%</a:t>
            </a:fld>
            <a:endParaRPr lang="ru-RU" sz="1200" b="1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8" name="Овал 217"/>
          <p:cNvSpPr/>
          <p:nvPr>
            <p:custDataLst>
              <p:tags r:id="rId52"/>
            </p:custDataLst>
          </p:nvPr>
        </p:nvSpPr>
        <p:spPr bwMode="auto">
          <a:xfrm>
            <a:off x="3187700" y="2390775"/>
            <a:ext cx="39528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7C928841-878C-4CAC-8AAE-489B2B6C390F}" type="datetime'''-''''''''''''''''''''''''''''''''1''%''''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-1%</a:t>
            </a:fld>
            <a:endParaRPr lang="ru-RU" sz="1200" b="1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53"/>
            </p:custDataLst>
          </p:nvPr>
        </p:nvSpPr>
        <p:spPr bwMode="auto">
          <a:xfrm>
            <a:off x="2797175" y="2692400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145639BE-FF7D-4FEB-A7CA-6CFEA10E6FF5}" type="datetime'''''''4'',''''''''''''''''''''''''6''''''''''''1''7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4,617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54"/>
            </p:custDataLst>
          </p:nvPr>
        </p:nvSpPr>
        <p:spPr bwMode="auto">
          <a:xfrm>
            <a:off x="3549650" y="2701925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5E93ABFA-8E13-4993-BCE5-471B6B7E9650}" type="datetime'''''''4'''''',''''''''''''''5''''7''''''''''''''''7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4,577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55"/>
            </p:custDataLst>
          </p:nvPr>
        </p:nvSpPr>
        <p:spPr bwMode="auto">
          <a:xfrm>
            <a:off x="2830512" y="4516437"/>
            <a:ext cx="317500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34167DC6-9F31-4C4B-BE74-701B54961801}" type="datetime'''2''0''''''''''''''''''''1''''''''''''''''''2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2</a:t>
            </a:fld>
            <a:endParaRPr lang="ru-RU" sz="12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5" name="Прямоугольник 224"/>
          <p:cNvSpPr/>
          <p:nvPr>
            <p:custDataLst>
              <p:tags r:id="rId56"/>
            </p:custDataLst>
          </p:nvPr>
        </p:nvSpPr>
        <p:spPr bwMode="auto">
          <a:xfrm>
            <a:off x="2044700" y="2787650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57EB64F6-C693-4EDA-B1ED-9A4BD668DF2F}" type="datetime'''''''''4,''''33''''''''''''3''''''''''''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4,333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6" name="Прямоугольник 205"/>
          <p:cNvSpPr/>
          <p:nvPr>
            <p:custDataLst>
              <p:tags r:id="rId57"/>
            </p:custDataLst>
          </p:nvPr>
        </p:nvSpPr>
        <p:spPr bwMode="auto">
          <a:xfrm>
            <a:off x="1292225" y="3016250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258EFF66-239A-47D4-9283-CB1B0804EE81}" type="datetime'''''''''''''''''''''''''''''''3'',''''''''''''''''6''3''''''7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3,637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58"/>
            </p:custDataLst>
          </p:nvPr>
        </p:nvSpPr>
        <p:spPr bwMode="auto">
          <a:xfrm>
            <a:off x="1325562" y="4516437"/>
            <a:ext cx="317500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39B78CC8-E749-43D6-84AB-5F0993BEB24C}" type="datetime'''''''''''''2''''0''''''''''''''''1''''''''''''''''0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0</a:t>
            </a:fld>
            <a:endParaRPr lang="ru-RU" sz="12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2" name="TextBox 221"/>
          <p:cNvSpPr txBox="1"/>
          <p:nvPr>
            <p:custDataLst>
              <p:tags r:id="rId59"/>
            </p:custDataLst>
          </p:nvPr>
        </p:nvSpPr>
        <p:spPr>
          <a:xfrm>
            <a:off x="665109" y="1251224"/>
            <a:ext cx="3906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За последние четыре года темп роста числа МСП* резко снижался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4" name="Прямоугольник 223"/>
          <p:cNvSpPr/>
          <p:nvPr>
            <p:custDataLst>
              <p:tags r:id="rId60"/>
            </p:custDataLst>
          </p:nvPr>
        </p:nvSpPr>
        <p:spPr bwMode="auto">
          <a:xfrm>
            <a:off x="1817687" y="5032375"/>
            <a:ext cx="214312" cy="160337"/>
          </a:xfrm>
          <a:prstGeom prst="rect">
            <a:avLst/>
          </a:prstGeom>
          <a:solidFill>
            <a:srgbClr val="00519A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23" name="Прямоугольник 222"/>
          <p:cNvSpPr/>
          <p:nvPr>
            <p:custDataLst>
              <p:tags r:id="rId61"/>
            </p:custDataLst>
          </p:nvPr>
        </p:nvSpPr>
        <p:spPr bwMode="auto">
          <a:xfrm>
            <a:off x="2082799" y="5027612"/>
            <a:ext cx="13589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1AB3461-4BD5-4AD4-82B2-BEBBB7CE84B1}" type="datetime'Ч''''''и''''сл''о'' М''''''С''''П'','' ты''с''.'''' е''д.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Число МСП, тыс. ед.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54" name="think-cell Slide" r:id="rId62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28596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в т.ч. ИП</a:t>
            </a:r>
          </a:p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: оценка АНО «НИСИПП» на основе данных Росстат</a:t>
            </a: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28596" y="-3222"/>
            <a:ext cx="6316749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Динамика развития МСП РФ</a:t>
            </a:r>
            <a:r>
              <a:rPr lang="en-US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 (2/</a:t>
            </a: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000" b="1" dirty="0" smtClean="0">
              <a:solidFill>
                <a:srgbClr val="984807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Существенного роста оборота МСП не наблюдается</a:t>
            </a: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63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4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8"/>
            </p:custDataLst>
          </p:nvPr>
        </p:nvSpPr>
        <p:spPr>
          <a:xfrm>
            <a:off x="4973643" y="1311246"/>
            <a:ext cx="3763964" cy="2117754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9"/>
            </p:custDataLst>
          </p:nvPr>
        </p:nvSpPr>
        <p:spPr>
          <a:xfrm>
            <a:off x="4791078" y="1251224"/>
            <a:ext cx="416248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 итогам 2013 г. в половине федеральных округов наблюдалось падение оборотов МСП*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3" name="Объект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12317884"/>
              </p:ext>
            </p:extLst>
          </p:nvPr>
        </p:nvGraphicFramePr>
        <p:xfrm>
          <a:off x="4775200" y="2270125"/>
          <a:ext cx="4267290" cy="2248020"/>
        </p:xfrm>
        <a:graphic>
          <a:graphicData uri="http://schemas.openxmlformats.org/presentationml/2006/ole">
            <p:oleObj spid="_x0000_s125955" name="Диаграмма" r:id="rId64" imgW="4267290" imgH="2248020" progId="MSGraph.Chart.8">
              <p:embed followColorScheme="full"/>
            </p:oleObj>
          </a:graphicData>
        </a:graphic>
      </p:graphicFrame>
      <p:cxnSp>
        <p:nvCxnSpPr>
          <p:cNvPr id="75" name="Прямая соединительная линия 74"/>
          <p:cNvCxnSpPr/>
          <p:nvPr>
            <p:custDataLst>
              <p:tags r:id="rId10"/>
            </p:custDataLst>
          </p:nvPr>
        </p:nvCxnSpPr>
        <p:spPr bwMode="auto">
          <a:xfrm>
            <a:off x="4870450" y="3851275"/>
            <a:ext cx="40671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>
            <p:custDataLst>
              <p:tags r:id="rId11"/>
            </p:custDataLst>
          </p:nvPr>
        </p:nvSpPr>
        <p:spPr bwMode="auto">
          <a:xfrm>
            <a:off x="8377237" y="2157412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6012F348-916C-4A07-B3A8-465FC7C69629}" type="datetime'''''''''''6'''',''''''''''''7''''''''''''%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6,7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7962900" y="2957512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D87D700A-23AB-44E2-AF7D-C246AE14B8AE}" type="datetime'3'''''''''''''''''',''''''4''''%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3,4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3"/>
            </p:custDataLst>
          </p:nvPr>
        </p:nvSpPr>
        <p:spPr bwMode="auto">
          <a:xfrm>
            <a:off x="7548562" y="2986087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BEC24F0F-2F75-416B-BD2C-1A9D850202CD}" type="datetime'''''''''''''3,''''''''''''''''''''''''''''3''''%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3,3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 bwMode="auto">
          <a:xfrm>
            <a:off x="7134225" y="2986087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DC79CB74-7A69-4E49-8C07-D494A9857F1F}" type="datetime'3,''''''''''''''''''''''''''3''''%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3,3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5"/>
            </p:custDataLst>
          </p:nvPr>
        </p:nvSpPr>
        <p:spPr bwMode="auto">
          <a:xfrm>
            <a:off x="6694487" y="407670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8437BAC1-C35B-4D6B-85C4-0CDA4A419407}" type="datetime'''''''-''''0,2''''''''''''''%''''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0,2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6"/>
            </p:custDataLst>
          </p:nvPr>
        </p:nvSpPr>
        <p:spPr bwMode="auto">
          <a:xfrm>
            <a:off x="6280150" y="4105275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56A22509-17B1-43E1-AC44-6F7A799A979A}" type="datetime'''''''''-0'''''''',''''''''''3''''''''''''''%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0,3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7"/>
            </p:custDataLst>
          </p:nvPr>
        </p:nvSpPr>
        <p:spPr bwMode="auto">
          <a:xfrm>
            <a:off x="5865812" y="443865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040F466A-3F15-4503-A77F-B39D15E5912A}" type="datetime'''-''''1'''''''''''',''''''''''7''''''''''''''%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1,7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8"/>
            </p:custDataLst>
          </p:nvPr>
        </p:nvSpPr>
        <p:spPr bwMode="auto">
          <a:xfrm>
            <a:off x="5451475" y="4438650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FB1A639C-63E4-4615-B339-27383C7F667E}" type="datetime'''''''''''''''''''''''''-1'''''',7''''''''''''''''''''''''%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1,7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9"/>
            </p:custDataLst>
          </p:nvPr>
        </p:nvSpPr>
        <p:spPr bwMode="auto">
          <a:xfrm>
            <a:off x="5062537" y="3643312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B9E76781-CDB9-4B1B-BC14-C8828CD5BF48}" type="datetime'''''0,''''''''''6''''''''''''''''''''%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0,6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20"/>
            </p:custDataLst>
          </p:nvPr>
        </p:nvSpPr>
        <p:spPr bwMode="auto">
          <a:xfrm>
            <a:off x="6977062" y="5032375"/>
            <a:ext cx="214312" cy="160337"/>
          </a:xfrm>
          <a:prstGeom prst="rect">
            <a:avLst/>
          </a:prstGeom>
          <a:solidFill>
            <a:srgbClr val="3BA2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4" name="Прямоугольник 43"/>
          <p:cNvSpPr/>
          <p:nvPr>
            <p:custDataLst>
              <p:tags r:id="rId21"/>
            </p:custDataLst>
          </p:nvPr>
        </p:nvSpPr>
        <p:spPr bwMode="auto">
          <a:xfrm>
            <a:off x="6977062" y="5265737"/>
            <a:ext cx="214312" cy="160337"/>
          </a:xfrm>
          <a:prstGeom prst="rect">
            <a:avLst/>
          </a:prstGeom>
          <a:solidFill>
            <a:srgbClr val="79B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7" name="Прямоугольник 46"/>
          <p:cNvSpPr/>
          <p:nvPr>
            <p:custDataLst>
              <p:tags r:id="rId22"/>
            </p:custDataLst>
          </p:nvPr>
        </p:nvSpPr>
        <p:spPr bwMode="auto">
          <a:xfrm>
            <a:off x="5121275" y="5965825"/>
            <a:ext cx="214312" cy="160337"/>
          </a:xfrm>
          <a:prstGeom prst="rect">
            <a:avLst/>
          </a:prstGeom>
          <a:solidFill>
            <a:srgbClr val="0076E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3" name="Прямоугольник 42"/>
          <p:cNvSpPr/>
          <p:nvPr>
            <p:custDataLst>
              <p:tags r:id="rId23"/>
            </p:custDataLst>
          </p:nvPr>
        </p:nvSpPr>
        <p:spPr bwMode="auto">
          <a:xfrm>
            <a:off x="6977062" y="5499100"/>
            <a:ext cx="214312" cy="160337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2" name="Прямоугольник 41"/>
          <p:cNvSpPr/>
          <p:nvPr>
            <p:custDataLst>
              <p:tags r:id="rId24"/>
            </p:custDataLst>
          </p:nvPr>
        </p:nvSpPr>
        <p:spPr bwMode="auto">
          <a:xfrm>
            <a:off x="6977062" y="5732462"/>
            <a:ext cx="214312" cy="160337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8" name="Прямоугольник 47"/>
          <p:cNvSpPr/>
          <p:nvPr>
            <p:custDataLst>
              <p:tags r:id="rId25"/>
            </p:custDataLst>
          </p:nvPr>
        </p:nvSpPr>
        <p:spPr bwMode="auto">
          <a:xfrm>
            <a:off x="5121275" y="5732462"/>
            <a:ext cx="214312" cy="160337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49" name="Прямоугольник 48"/>
          <p:cNvSpPr/>
          <p:nvPr>
            <p:custDataLst>
              <p:tags r:id="rId26"/>
            </p:custDataLst>
          </p:nvPr>
        </p:nvSpPr>
        <p:spPr bwMode="auto">
          <a:xfrm>
            <a:off x="5121275" y="5499100"/>
            <a:ext cx="214312" cy="1603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0" name="Прямоугольник 49"/>
          <p:cNvSpPr/>
          <p:nvPr>
            <p:custDataLst>
              <p:tags r:id="rId27"/>
            </p:custDataLst>
          </p:nvPr>
        </p:nvSpPr>
        <p:spPr bwMode="auto">
          <a:xfrm>
            <a:off x="5121275" y="5265737"/>
            <a:ext cx="214312" cy="160337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1" name="Прямоугольник 50"/>
          <p:cNvSpPr/>
          <p:nvPr>
            <p:custDataLst>
              <p:tags r:id="rId28"/>
            </p:custDataLst>
          </p:nvPr>
        </p:nvSpPr>
        <p:spPr bwMode="auto">
          <a:xfrm>
            <a:off x="5121275" y="5032375"/>
            <a:ext cx="214312" cy="160337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52" name="Прямоугольник 51"/>
          <p:cNvSpPr/>
          <p:nvPr>
            <p:custDataLst>
              <p:tags r:id="rId29"/>
            </p:custDataLst>
          </p:nvPr>
        </p:nvSpPr>
        <p:spPr bwMode="auto">
          <a:xfrm>
            <a:off x="7242175" y="5727700"/>
            <a:ext cx="1530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5C830202-4A1B-472A-AA3F-957189F4E66F}" type="datetime'С''''''евер''''''о''''-Ка''''''в''''каз''ск''и''й'''' Ф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еверо-Кавказ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30"/>
            </p:custDataLst>
          </p:nvPr>
        </p:nvSpPr>
        <p:spPr bwMode="auto">
          <a:xfrm>
            <a:off x="7242175" y="5494337"/>
            <a:ext cx="11684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6737611B-B5CC-4603-8BDF-A0837C2D7139}" type="datetime'''Прив''о''л''''''''''ж''''''''''с''''к''и''''й'''''' ''Ф''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Приволж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31"/>
            </p:custDataLst>
          </p:nvPr>
        </p:nvSpPr>
        <p:spPr bwMode="auto">
          <a:xfrm>
            <a:off x="7242175" y="5260975"/>
            <a:ext cx="14351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3723944-06EB-4C94-B414-75256323C564}" type="datetime'Д''''а''''''ль''''''н''ево''с''точн''ы''''й ''Ф''''О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Дальневосточ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32"/>
            </p:custDataLst>
          </p:nvPr>
        </p:nvSpPr>
        <p:spPr bwMode="auto">
          <a:xfrm>
            <a:off x="7242175" y="5027612"/>
            <a:ext cx="9715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A0859D65-90BD-4E42-9FED-B3CE624B25CC}" type="datetime'''''У''''''''''р''''''а''''''''''''''л''ь''ский'''''' Ф''''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Ураль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33"/>
            </p:custDataLst>
          </p:nvPr>
        </p:nvSpPr>
        <p:spPr bwMode="auto">
          <a:xfrm>
            <a:off x="5386387" y="5961062"/>
            <a:ext cx="7953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863A948-8E27-4FE0-9C66-52BA66CB7C90}" type="datetime'''''Южн''''''''ы''''''''''''й'''''' ''''''''''Ф''''''О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Юж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34"/>
            </p:custDataLst>
          </p:nvPr>
        </p:nvSpPr>
        <p:spPr bwMode="auto">
          <a:xfrm>
            <a:off x="5386387" y="5727700"/>
            <a:ext cx="990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2D87E29C-F296-4FB0-8FB1-92AFCBB37EBC}" type="datetime'С''и''''''''б''''ирски''''''й'''' ''''''''''''Ф''О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ибирски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0" name="Прямоугольник 59"/>
          <p:cNvSpPr/>
          <p:nvPr>
            <p:custDataLst>
              <p:tags r:id="rId35"/>
            </p:custDataLst>
          </p:nvPr>
        </p:nvSpPr>
        <p:spPr bwMode="auto">
          <a:xfrm>
            <a:off x="5386386" y="5494337"/>
            <a:ext cx="1149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74815C64-1707-4495-9250-2DC870257486}" type="datetime'''''''Це''''''нтра''''''''л''''ьны''й ''ФО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Централь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36"/>
            </p:custDataLst>
          </p:nvPr>
        </p:nvSpPr>
        <p:spPr bwMode="auto">
          <a:xfrm>
            <a:off x="5386387" y="5260975"/>
            <a:ext cx="1417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B71BC11-42B4-4B65-9EA8-509D7DC5FDAE}" type="datetime'''''''''С''''е''в''е''''ро''-''''''''З''ап''''а''дный'' ФО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еверо-Запад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37"/>
            </p:custDataLst>
          </p:nvPr>
        </p:nvSpPr>
        <p:spPr bwMode="auto">
          <a:xfrm>
            <a:off x="5386387" y="5027612"/>
            <a:ext cx="14890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E4653797-989C-4881-9FD0-087419FDDCDE}" type="datetime'Рос''''сий''с''к''а''я'''''' Ф''е''дерац''''''''и''''''я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Российская Федерация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198" name="Объект 197"/>
          <p:cNvGraphicFramePr>
            <a:graphicFrameLocks noChangeAspect="1"/>
          </p:cNvGraphicFramePr>
          <p:nvPr/>
        </p:nvGraphicFramePr>
        <p:xfrm>
          <a:off x="1035050" y="2805112"/>
          <a:ext cx="3209990" cy="1771740"/>
        </p:xfrm>
        <a:graphic>
          <a:graphicData uri="http://schemas.openxmlformats.org/presentationml/2006/ole">
            <p:oleObj spid="_x0000_s125956" name="Диаграмма" r:id="rId65" imgW="3209990" imgH="1771740" progId="MSGraph.Chart.8">
              <p:embed followColorScheme="full"/>
            </p:oleObj>
          </a:graphicData>
        </a:graphic>
      </p:graphicFrame>
      <p:cxnSp>
        <p:nvCxnSpPr>
          <p:cNvPr id="82" name="Прямая соединительная линия 81"/>
          <p:cNvCxnSpPr/>
          <p:nvPr>
            <p:custDataLst>
              <p:tags r:id="rId38"/>
            </p:custDataLst>
          </p:nvPr>
        </p:nvCxnSpPr>
        <p:spPr bwMode="auto">
          <a:xfrm>
            <a:off x="2973387" y="2546349"/>
            <a:ext cx="0" cy="203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>
            <p:custDataLst>
              <p:tags r:id="rId39"/>
            </p:custDataLst>
          </p:nvPr>
        </p:nvCxnSpPr>
        <p:spPr bwMode="auto">
          <a:xfrm>
            <a:off x="2297112" y="2546350"/>
            <a:ext cx="6762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/>
          <p:cNvCxnSpPr/>
          <p:nvPr>
            <p:custDataLst>
              <p:tags r:id="rId40"/>
            </p:custDataLst>
          </p:nvPr>
        </p:nvCxnSpPr>
        <p:spPr bwMode="auto">
          <a:xfrm flipV="1">
            <a:off x="2297112" y="2546350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>
            <p:custDataLst>
              <p:tags r:id="rId41"/>
            </p:custDataLst>
          </p:nvPr>
        </p:nvCxnSpPr>
        <p:spPr bwMode="auto">
          <a:xfrm>
            <a:off x="3763962" y="2584450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>
            <p:custDataLst>
              <p:tags r:id="rId42"/>
            </p:custDataLst>
          </p:nvPr>
        </p:nvCxnSpPr>
        <p:spPr bwMode="auto">
          <a:xfrm flipV="1">
            <a:off x="3049587" y="2584450"/>
            <a:ext cx="0" cy="1651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>
            <p:custDataLst>
              <p:tags r:id="rId43"/>
            </p:custDataLst>
          </p:nvPr>
        </p:nvCxnSpPr>
        <p:spPr bwMode="auto">
          <a:xfrm>
            <a:off x="3049587" y="2584450"/>
            <a:ext cx="7143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>
            <p:custDataLst>
              <p:tags r:id="rId44"/>
            </p:custDataLst>
          </p:nvPr>
        </p:nvCxnSpPr>
        <p:spPr bwMode="auto">
          <a:xfrm>
            <a:off x="2220912" y="2498724"/>
            <a:ext cx="0" cy="203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>
            <p:custDataLst>
              <p:tags r:id="rId45"/>
            </p:custDataLst>
          </p:nvPr>
        </p:nvCxnSpPr>
        <p:spPr bwMode="auto">
          <a:xfrm flipV="1">
            <a:off x="1506537" y="2498726"/>
            <a:ext cx="0" cy="1555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единительная линия 77"/>
          <p:cNvCxnSpPr/>
          <p:nvPr>
            <p:custDataLst>
              <p:tags r:id="rId46"/>
            </p:custDataLst>
          </p:nvPr>
        </p:nvCxnSpPr>
        <p:spPr bwMode="auto">
          <a:xfrm>
            <a:off x="1506537" y="2498725"/>
            <a:ext cx="7143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Прямоугольник 205"/>
          <p:cNvSpPr/>
          <p:nvPr>
            <p:custDataLst>
              <p:tags r:id="rId47"/>
            </p:custDataLst>
          </p:nvPr>
        </p:nvSpPr>
        <p:spPr bwMode="auto">
          <a:xfrm>
            <a:off x="1276350" y="2692400"/>
            <a:ext cx="4603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5C6A7BD1-8661-48CB-9FAC-20D8ABCE9E89}" type="datetime'''''''''''''''''''''''''''2''''6.''''''4''''''''8''3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6.483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5" name="Прямоугольник 204"/>
          <p:cNvSpPr/>
          <p:nvPr>
            <p:custDataLst>
              <p:tags r:id="rId48"/>
            </p:custDataLst>
          </p:nvPr>
        </p:nvSpPr>
        <p:spPr bwMode="auto">
          <a:xfrm>
            <a:off x="3605212" y="4516437"/>
            <a:ext cx="3175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6A96FEBF-B4ED-4714-AFBF-8E8F12DABA91}" type="datetime'2''''01''3''''''''''''''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3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8" name="Прямоугольник 207"/>
          <p:cNvSpPr/>
          <p:nvPr>
            <p:custDataLst>
              <p:tags r:id="rId49"/>
            </p:custDataLst>
          </p:nvPr>
        </p:nvSpPr>
        <p:spPr bwMode="auto">
          <a:xfrm>
            <a:off x="2781300" y="2787650"/>
            <a:ext cx="4603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098AC9AA-BE7D-4F79-9EEE-45300357CF28}" type="datetime'''''2''''''''''4.''''''''''''''''8''''''''''''8''''''''0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4.880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0" name="Прямоугольник 199"/>
          <p:cNvSpPr/>
          <p:nvPr>
            <p:custDataLst>
              <p:tags r:id="rId50"/>
            </p:custDataLst>
          </p:nvPr>
        </p:nvSpPr>
        <p:spPr bwMode="auto">
          <a:xfrm>
            <a:off x="1347787" y="4516437"/>
            <a:ext cx="317500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A488D43C-8BC0-4274-97FD-B968CA90336B}" type="datetime'''''''2''''''0''10''''''''''''''''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0</a:t>
            </a:fld>
            <a:endParaRPr lang="ru-RU" sz="12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8" name="Овал 217"/>
          <p:cNvSpPr/>
          <p:nvPr>
            <p:custDataLst>
              <p:tags r:id="rId51"/>
            </p:custDataLst>
          </p:nvPr>
        </p:nvSpPr>
        <p:spPr bwMode="auto">
          <a:xfrm>
            <a:off x="3182937" y="2466975"/>
            <a:ext cx="4476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C031966A-C1B9-41B3-82B1-E1A2F343BB2F}" type="datetime'''''''+''''''1''''''''''''%''''''''''''''''''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+1%</a:t>
            </a:fld>
            <a:endParaRPr lang="ru-RU" sz="1200" b="1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4" name="Овал 213"/>
          <p:cNvSpPr/>
          <p:nvPr>
            <p:custDataLst>
              <p:tags r:id="rId52"/>
            </p:custDataLst>
          </p:nvPr>
        </p:nvSpPr>
        <p:spPr bwMode="auto">
          <a:xfrm>
            <a:off x="2438400" y="2428875"/>
            <a:ext cx="39528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2AD229F9-7CB1-4824-AD8B-5BF654B2BA12}" type="datetime'''''''''''-''''''''''''''3''%''''''''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-3%</a:t>
            </a:fld>
            <a:endParaRPr lang="ru-RU" sz="1200" b="1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0" name="Овал 209"/>
          <p:cNvSpPr/>
          <p:nvPr>
            <p:custDataLst>
              <p:tags r:id="rId53"/>
            </p:custDataLst>
          </p:nvPr>
        </p:nvSpPr>
        <p:spPr bwMode="auto">
          <a:xfrm>
            <a:off x="1666875" y="2381250"/>
            <a:ext cx="39528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D7876024-C261-4153-B380-6512516FC205}" type="datetime'''''''''''''''''''''''''''-''''''''''''''3''''''%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-3%</a:t>
            </a:fld>
            <a:endParaRPr lang="ru-RU" sz="1200" b="1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54"/>
            </p:custDataLst>
          </p:nvPr>
        </p:nvSpPr>
        <p:spPr bwMode="auto">
          <a:xfrm>
            <a:off x="3533775" y="2778125"/>
            <a:ext cx="4603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EBCA60C8-04D1-4035-97BE-544FC3640E69}" type="datetime'''''''2''''5''.0''''''''''34''''''''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5.034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3" name="Прямоугольник 202"/>
          <p:cNvSpPr/>
          <p:nvPr>
            <p:custDataLst>
              <p:tags r:id="rId55"/>
            </p:custDataLst>
          </p:nvPr>
        </p:nvSpPr>
        <p:spPr bwMode="auto">
          <a:xfrm>
            <a:off x="2852737" y="4516437"/>
            <a:ext cx="317500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74C37D7B-E8F7-4192-8F95-A07EC011DD30}" type="datetime'''''''''''''''''''''2''''''''0''''1''''''''''2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2</a:t>
            </a:fld>
            <a:endParaRPr lang="ru-RU" sz="12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4" name="Прямоугольник 203"/>
          <p:cNvSpPr/>
          <p:nvPr>
            <p:custDataLst>
              <p:tags r:id="rId56"/>
            </p:custDataLst>
          </p:nvPr>
        </p:nvSpPr>
        <p:spPr bwMode="auto">
          <a:xfrm>
            <a:off x="2100262" y="4516437"/>
            <a:ext cx="317500" cy="182562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527F654C-F77C-4BB4-8948-7619F3A8A9B9}" type="datetime'''''''''''''''''''''''2''''''''''''''''''01''''1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1</a:t>
            </a:fld>
            <a:endParaRPr lang="ru-RU" sz="12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5" name="Прямоугольник 224"/>
          <p:cNvSpPr/>
          <p:nvPr>
            <p:custDataLst>
              <p:tags r:id="rId57"/>
            </p:custDataLst>
          </p:nvPr>
        </p:nvSpPr>
        <p:spPr bwMode="auto">
          <a:xfrm>
            <a:off x="2028825" y="2740025"/>
            <a:ext cx="4603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44F66C95-EE30-4997-827F-4445E9A5B237}" type="datetime'''''25''''''''''.''''''''''''62''''''''''''6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5.626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2" name="TextBox 221"/>
          <p:cNvSpPr txBox="1"/>
          <p:nvPr>
            <p:custDataLst>
              <p:tags r:id="rId58"/>
            </p:custDataLst>
          </p:nvPr>
        </p:nvSpPr>
        <p:spPr>
          <a:xfrm>
            <a:off x="665109" y="1251224"/>
            <a:ext cx="3906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сле двух лет падения оборот МСП* стал раст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4" name="Прямоугольник 223"/>
          <p:cNvSpPr/>
          <p:nvPr>
            <p:custDataLst>
              <p:tags r:id="rId59"/>
            </p:custDataLst>
          </p:nvPr>
        </p:nvSpPr>
        <p:spPr bwMode="auto">
          <a:xfrm>
            <a:off x="1160462" y="5032375"/>
            <a:ext cx="214312" cy="160337"/>
          </a:xfrm>
          <a:prstGeom prst="rect">
            <a:avLst/>
          </a:prstGeom>
          <a:solidFill>
            <a:srgbClr val="00519A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23" name="Прямоугольник 222"/>
          <p:cNvSpPr/>
          <p:nvPr>
            <p:custDataLst>
              <p:tags r:id="rId60"/>
            </p:custDataLst>
          </p:nvPr>
        </p:nvSpPr>
        <p:spPr bwMode="auto">
          <a:xfrm>
            <a:off x="1425575" y="5027612"/>
            <a:ext cx="27193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ADB0F920-22E7-41BD-9B90-C6DFDF4A4E96}" type="datetime'Обо''ро''т МСП, млрд руб''. ''''''( в ценах 2''008'''' г.)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Оборот МСП, млрд руб. ( в ценах 2008 г.)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2" name="think-cell Slide" r:id="rId60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12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28596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: оценка АНО «НИСИПП» на основе данных Росстат, «</a:t>
            </a:r>
            <a:r>
              <a:rPr lang="ru-RU" sz="1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сультантПлюс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61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7"/>
            </p:custDataLst>
          </p:nvPr>
        </p:nvSpPr>
        <p:spPr>
          <a:xfrm>
            <a:off x="4973643" y="1311246"/>
            <a:ext cx="3763964" cy="2117754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8"/>
            </p:custDataLst>
          </p:nvPr>
        </p:nvSpPr>
        <p:spPr>
          <a:xfrm>
            <a:off x="4864104" y="1798919"/>
            <a:ext cx="4089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 итогам 2013 г. в большей части регионов сильно сократилась численность ИП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23" name="Объект 2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12317884"/>
              </p:ext>
            </p:extLst>
          </p:nvPr>
        </p:nvGraphicFramePr>
        <p:xfrm>
          <a:off x="4775200" y="2601912"/>
          <a:ext cx="4267290" cy="1466910"/>
        </p:xfrm>
        <a:graphic>
          <a:graphicData uri="http://schemas.openxmlformats.org/presentationml/2006/ole">
            <p:oleObj spid="_x0000_s128003" name="Диаграмма" r:id="rId62" imgW="4267290" imgH="1466910" progId="MSGraph.Chart.8">
              <p:embed followColorScheme="full"/>
            </p:oleObj>
          </a:graphicData>
        </a:graphic>
      </p:graphicFrame>
      <p:cxnSp>
        <p:nvCxnSpPr>
          <p:cNvPr id="86" name="Прямая соединительная линия 85"/>
          <p:cNvCxnSpPr/>
          <p:nvPr>
            <p:custDataLst>
              <p:tags r:id="rId9"/>
            </p:custDataLst>
          </p:nvPr>
        </p:nvCxnSpPr>
        <p:spPr bwMode="auto">
          <a:xfrm>
            <a:off x="4870450" y="3373437"/>
            <a:ext cx="4067175" cy="0"/>
          </a:xfrm>
          <a:prstGeom prst="line">
            <a:avLst/>
          </a:prstGeom>
          <a:ln w="9525">
            <a:solidFill>
              <a:schemeClr val="tx1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>
            <p:custDataLst>
              <p:tags r:id="rId10"/>
            </p:custDataLst>
          </p:nvPr>
        </p:nvSpPr>
        <p:spPr bwMode="auto">
          <a:xfrm>
            <a:off x="8377237" y="2489200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3BD35D9E-0898-4CDD-A351-CBA8E285F68E}" type="datetime'1'''''''''''''''',''''''4''''''''''''''%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1,4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1"/>
            </p:custDataLst>
          </p:nvPr>
        </p:nvSpPr>
        <p:spPr bwMode="auto">
          <a:xfrm>
            <a:off x="7108825" y="2998787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A326ED26-AE94-4C8A-8E2A-932DD4F61514}" type="datetime'-''''''''''''''''''''''''''0,''''8''''%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0,8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7962900" y="2489200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F08A92E6-4222-4671-B0BE-EDA307066A29}" type="datetime'''''''''''''''''1'',''''''''''''4''''%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1,4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3"/>
            </p:custDataLst>
          </p:nvPr>
        </p:nvSpPr>
        <p:spPr bwMode="auto">
          <a:xfrm>
            <a:off x="7548562" y="2517775"/>
            <a:ext cx="3587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004B9E69-6A08-4AE0-BE56-B0C20192395B}" type="datetime'''1'''''''''''''''',''2''''''''''''''''''''''''''%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1,2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4"/>
            </p:custDataLst>
          </p:nvPr>
        </p:nvSpPr>
        <p:spPr bwMode="auto">
          <a:xfrm>
            <a:off x="6280150" y="3608387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BC75139D-90AD-43EB-BB0D-920590D6DAD5}" type="datetime'''''''-''''''''''5'''''''''',''''''''''''5''''''''''%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5,5%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5"/>
            </p:custDataLst>
          </p:nvPr>
        </p:nvSpPr>
        <p:spPr bwMode="auto">
          <a:xfrm>
            <a:off x="5865812" y="3989387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E5C4BE0D-F15D-474D-8897-FEB6636A4FEB}" type="datetime'''''''-''''''''''8'''''''',''''''''''5''''''''''%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8,5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 bwMode="auto">
          <a:xfrm>
            <a:off x="5451475" y="3989387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3E90F180-2BF3-4653-A147-56A1E892A066}" type="datetime'''''''''''-''8'''',''''''''''5%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8,5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7"/>
            </p:custDataLst>
          </p:nvPr>
        </p:nvSpPr>
        <p:spPr bwMode="auto">
          <a:xfrm>
            <a:off x="5037137" y="3408362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51C96C53-192C-4ECB-894E-707133EEE16C}" type="datetime'''''''-''''''4,''''''''''''''''''''0''%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4,0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8"/>
            </p:custDataLst>
          </p:nvPr>
        </p:nvSpPr>
        <p:spPr bwMode="auto">
          <a:xfrm>
            <a:off x="6694487" y="3160712"/>
            <a:ext cx="4095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t" anchorCtr="0">
            <a:noAutofit/>
          </a:bodyPr>
          <a:lstStyle/>
          <a:p>
            <a:pPr algn="ctr"/>
            <a:fld id="{02AEEF81-8667-4AD3-AC5F-FACF428729F9}" type="datetime'-''''2'''''''',''''0''''''''''''''''''''''''''''%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-2,0%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19"/>
            </p:custDataLst>
          </p:nvPr>
        </p:nvSpPr>
        <p:spPr bwMode="auto">
          <a:xfrm>
            <a:off x="5140325" y="5043487"/>
            <a:ext cx="214312" cy="160337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>
            <p:custDataLst>
              <p:tags r:id="rId20"/>
            </p:custDataLst>
          </p:nvPr>
        </p:nvSpPr>
        <p:spPr bwMode="auto">
          <a:xfrm>
            <a:off x="5140325" y="4810125"/>
            <a:ext cx="214312" cy="1603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>
            <p:custDataLst>
              <p:tags r:id="rId21"/>
            </p:custDataLst>
          </p:nvPr>
        </p:nvSpPr>
        <p:spPr bwMode="auto">
          <a:xfrm>
            <a:off x="5140325" y="4576762"/>
            <a:ext cx="214312" cy="160337"/>
          </a:xfrm>
          <a:prstGeom prst="rect">
            <a:avLst/>
          </a:prstGeom>
          <a:solidFill>
            <a:srgbClr val="9BC62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>
            <p:custDataLst>
              <p:tags r:id="rId22"/>
            </p:custDataLst>
          </p:nvPr>
        </p:nvSpPr>
        <p:spPr bwMode="auto">
          <a:xfrm>
            <a:off x="5140325" y="4343400"/>
            <a:ext cx="214312" cy="160337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>
            <p:custDataLst>
              <p:tags r:id="rId23"/>
            </p:custDataLst>
          </p:nvPr>
        </p:nvSpPr>
        <p:spPr bwMode="auto">
          <a:xfrm>
            <a:off x="6996112" y="5043487"/>
            <a:ext cx="214312" cy="160337"/>
          </a:xfrm>
          <a:prstGeom prst="rect">
            <a:avLst/>
          </a:prstGeom>
          <a:solidFill>
            <a:schemeClr val="bg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>
            <p:custDataLst>
              <p:tags r:id="rId24"/>
            </p:custDataLst>
          </p:nvPr>
        </p:nvSpPr>
        <p:spPr bwMode="auto">
          <a:xfrm>
            <a:off x="6996112" y="4810125"/>
            <a:ext cx="214312" cy="160337"/>
          </a:xfrm>
          <a:prstGeom prst="rect">
            <a:avLst/>
          </a:prstGeom>
          <a:solidFill>
            <a:srgbClr val="DCE6F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4" name="Прямоугольник 43"/>
          <p:cNvSpPr/>
          <p:nvPr>
            <p:custDataLst>
              <p:tags r:id="rId25"/>
            </p:custDataLst>
          </p:nvPr>
        </p:nvSpPr>
        <p:spPr bwMode="auto">
          <a:xfrm>
            <a:off x="6996112" y="4576762"/>
            <a:ext cx="214312" cy="160337"/>
          </a:xfrm>
          <a:prstGeom prst="rect">
            <a:avLst/>
          </a:prstGeom>
          <a:solidFill>
            <a:srgbClr val="79B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>
            <p:custDataLst>
              <p:tags r:id="rId26"/>
            </p:custDataLst>
          </p:nvPr>
        </p:nvSpPr>
        <p:spPr bwMode="auto">
          <a:xfrm>
            <a:off x="6996112" y="4343400"/>
            <a:ext cx="214312" cy="160337"/>
          </a:xfrm>
          <a:prstGeom prst="rect">
            <a:avLst/>
          </a:prstGeom>
          <a:solidFill>
            <a:srgbClr val="3BA2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>
            <p:custDataLst>
              <p:tags r:id="rId27"/>
            </p:custDataLst>
          </p:nvPr>
        </p:nvSpPr>
        <p:spPr bwMode="auto">
          <a:xfrm>
            <a:off x="5140325" y="5276850"/>
            <a:ext cx="214312" cy="160337"/>
          </a:xfrm>
          <a:prstGeom prst="rect">
            <a:avLst/>
          </a:prstGeom>
          <a:solidFill>
            <a:srgbClr val="0076E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>
            <p:custDataLst>
              <p:tags r:id="rId28"/>
            </p:custDataLst>
          </p:nvPr>
        </p:nvSpPr>
        <p:spPr bwMode="auto">
          <a:xfrm>
            <a:off x="7261225" y="5038725"/>
            <a:ext cx="14176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3AE6086-A4B6-4060-87DA-C8C94674550D}" type="datetime'С''е''''в''ер''''''о''''-''З''''апад''''''''ный'' ''''Ф''О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еверо-Запад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29"/>
            </p:custDataLst>
          </p:nvPr>
        </p:nvSpPr>
        <p:spPr bwMode="auto">
          <a:xfrm>
            <a:off x="5405437" y="4338637"/>
            <a:ext cx="14890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42AF45E9-84B6-4D7E-A3B6-B55359F412A2}" type="datetime'''Р''''''''''ос''сийская'' ''Ф''еде''р''а''''''''ци''''я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Российская Федерация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30"/>
            </p:custDataLst>
          </p:nvPr>
        </p:nvSpPr>
        <p:spPr bwMode="auto">
          <a:xfrm>
            <a:off x="7261225" y="4805362"/>
            <a:ext cx="1530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4AC17CAB-6F2B-4BE5-B1B7-569037A5FCD1}" type="datetime'''Севе''ро-Кав''''''к''''''а''з''с''ки''й ''''''''ФО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еверо-Кавказский ФО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31"/>
            </p:custDataLst>
          </p:nvPr>
        </p:nvSpPr>
        <p:spPr bwMode="auto">
          <a:xfrm>
            <a:off x="7261225" y="4572000"/>
            <a:ext cx="14351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F69F810-B79E-4826-B067-47C7E0775A00}" type="datetime'Да''''ль''''н''ево''ст''о''''''чн''ы''''''''й'''' Ф''''''''О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Дальневосточный ФО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7" name="Прямоугольник 56"/>
          <p:cNvSpPr/>
          <p:nvPr>
            <p:custDataLst>
              <p:tags r:id="rId32"/>
            </p:custDataLst>
          </p:nvPr>
        </p:nvSpPr>
        <p:spPr bwMode="auto">
          <a:xfrm>
            <a:off x="7261225" y="4338637"/>
            <a:ext cx="9715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88B1737-9D89-40B2-A8B8-8BFAAB3BF9F9}" type="datetime'''''''У''''''р''аль''''с''ки''''''''''''''й ''ФО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Уральский ФО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33"/>
            </p:custDataLst>
          </p:nvPr>
        </p:nvSpPr>
        <p:spPr bwMode="auto">
          <a:xfrm>
            <a:off x="5405437" y="5272087"/>
            <a:ext cx="1149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B964E1C5-56CA-4EDA-9E3A-FCC8B131D401}" type="datetime'''''Цен''''''тр''''а''''''''л''''''''ьн''ы''''''й Ф''О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Центральный ФО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9" name="Прямоугольник 58"/>
          <p:cNvSpPr/>
          <p:nvPr>
            <p:custDataLst>
              <p:tags r:id="rId34"/>
            </p:custDataLst>
          </p:nvPr>
        </p:nvSpPr>
        <p:spPr bwMode="auto">
          <a:xfrm>
            <a:off x="5405437" y="5038725"/>
            <a:ext cx="9906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90A52A0-960B-40F4-9C7A-1692A8F62D14}" type="datetime'''''Си''би''''''''''''''''''''''р''''с''ки''й ФО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Сибирский ФО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0" name="Прямоугольник 59"/>
          <p:cNvSpPr/>
          <p:nvPr>
            <p:custDataLst>
              <p:tags r:id="rId35"/>
            </p:custDataLst>
          </p:nvPr>
        </p:nvSpPr>
        <p:spPr bwMode="auto">
          <a:xfrm>
            <a:off x="5405437" y="4805362"/>
            <a:ext cx="79533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B660D1C9-1424-4DB0-804F-77E2B83751D4}" type="datetime'Ю''ж''н''''''''''''''''''''ы''''''й ''''Ф''О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Южный ФО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36"/>
            </p:custDataLst>
          </p:nvPr>
        </p:nvSpPr>
        <p:spPr bwMode="auto">
          <a:xfrm>
            <a:off x="5405437" y="4572000"/>
            <a:ext cx="11684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700C2D39-64C2-44D8-8A8D-C119F84C3711}" type="datetime'''''''При''во''л''''''''''ж''''''с''''к''''''ий ФО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Приволжский ФО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198" name="Объект 197"/>
          <p:cNvGraphicFramePr>
            <a:graphicFrameLocks noChangeAspect="1"/>
          </p:cNvGraphicFramePr>
          <p:nvPr/>
        </p:nvGraphicFramePr>
        <p:xfrm>
          <a:off x="1035050" y="2817812"/>
          <a:ext cx="2933644" cy="1514430"/>
        </p:xfrm>
        <a:graphic>
          <a:graphicData uri="http://schemas.openxmlformats.org/presentationml/2006/ole">
            <p:oleObj spid="_x0000_s128004" name="Диаграмма" r:id="rId63" imgW="2933644" imgH="1514430" progId="MSGraph.Chart.8">
              <p:embed followColorScheme="full"/>
            </p:oleObj>
          </a:graphicData>
        </a:graphic>
      </p:graphicFrame>
      <p:cxnSp>
        <p:nvCxnSpPr>
          <p:cNvPr id="89" name="Прямая соединительная линия 88"/>
          <p:cNvCxnSpPr/>
          <p:nvPr>
            <p:custDataLst>
              <p:tags r:id="rId37"/>
            </p:custDataLst>
          </p:nvPr>
        </p:nvCxnSpPr>
        <p:spPr bwMode="auto">
          <a:xfrm>
            <a:off x="2459037" y="2514600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>
            <p:custDataLst>
              <p:tags r:id="rId38"/>
            </p:custDataLst>
          </p:nvPr>
        </p:nvCxnSpPr>
        <p:spPr bwMode="auto">
          <a:xfrm flipV="1">
            <a:off x="2535237" y="2562225"/>
            <a:ext cx="0" cy="1047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>
            <p:custDataLst>
              <p:tags r:id="rId39"/>
            </p:custDataLst>
          </p:nvPr>
        </p:nvCxnSpPr>
        <p:spPr bwMode="auto">
          <a:xfrm>
            <a:off x="2535237" y="2562225"/>
            <a:ext cx="8715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>
            <p:custDataLst>
              <p:tags r:id="rId40"/>
            </p:custDataLst>
          </p:nvPr>
        </p:nvCxnSpPr>
        <p:spPr bwMode="auto">
          <a:xfrm>
            <a:off x="3406775" y="2562225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>
            <p:custDataLst>
              <p:tags r:id="rId41"/>
            </p:custDataLst>
          </p:nvPr>
        </p:nvCxnSpPr>
        <p:spPr bwMode="auto">
          <a:xfrm>
            <a:off x="1587500" y="2514600"/>
            <a:ext cx="871537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>
            <p:custDataLst>
              <p:tags r:id="rId42"/>
            </p:custDataLst>
          </p:nvPr>
        </p:nvCxnSpPr>
        <p:spPr bwMode="auto">
          <a:xfrm flipV="1">
            <a:off x="1587500" y="2514600"/>
            <a:ext cx="0" cy="2000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Прямоугольник 207"/>
          <p:cNvSpPr/>
          <p:nvPr>
            <p:custDataLst>
              <p:tags r:id="rId43"/>
            </p:custDataLst>
          </p:nvPr>
        </p:nvSpPr>
        <p:spPr bwMode="auto">
          <a:xfrm>
            <a:off x="2305050" y="2705100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4375ECD5-F8C8-4817-B322-BD9544CE9070}" type="datetime'2,''''''''6''0''''''''''''''''''2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,602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8" name="Овал 217"/>
          <p:cNvSpPr/>
          <p:nvPr>
            <p:custDataLst>
              <p:tags r:id="rId44"/>
            </p:custDataLst>
          </p:nvPr>
        </p:nvSpPr>
        <p:spPr bwMode="auto">
          <a:xfrm>
            <a:off x="2773362" y="2444750"/>
            <a:ext cx="395287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B5931110-1F79-4FE1-99F7-09067561E25A}" type="datetime'-''4''''''''''''''''%''''''''''''''''''''''''''''''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-4%</a:t>
            </a:fld>
            <a:endParaRPr lang="ru-RU" sz="1200" b="1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Прямоугольник 72"/>
          <p:cNvSpPr/>
          <p:nvPr>
            <p:custDataLst>
              <p:tags r:id="rId45"/>
            </p:custDataLst>
          </p:nvPr>
        </p:nvSpPr>
        <p:spPr bwMode="auto">
          <a:xfrm>
            <a:off x="2338387" y="4271962"/>
            <a:ext cx="3175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9547057D-EF2E-4D8D-BADD-D8667A4E847F}" type="datetime'''2''''''''''''''''''0''''1''''''''''2''''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2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5" name="Прямоугольник 224"/>
          <p:cNvSpPr/>
          <p:nvPr>
            <p:custDataLst>
              <p:tags r:id="rId46"/>
            </p:custDataLst>
          </p:nvPr>
        </p:nvSpPr>
        <p:spPr bwMode="auto">
          <a:xfrm>
            <a:off x="1395412" y="2752725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814B1D22-82BB-4AA5-847C-EC32B2DB0945}" type="datetime'''2'''',''''''5''''''''''''''''''''''''''''''''''''0''5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,505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9" name="Прямоугольник 208"/>
          <p:cNvSpPr/>
          <p:nvPr>
            <p:custDataLst>
              <p:tags r:id="rId47"/>
            </p:custDataLst>
          </p:nvPr>
        </p:nvSpPr>
        <p:spPr bwMode="auto">
          <a:xfrm>
            <a:off x="3214687" y="2752725"/>
            <a:ext cx="384175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b" anchorCtr="0">
            <a:noAutofit/>
          </a:bodyPr>
          <a:lstStyle/>
          <a:p>
            <a:pPr algn="ctr"/>
            <a:fld id="{8BDEC0C3-AE43-47E1-ACA0-4A991B13115F}" type="datetime'''''''''''''''''''''''''2'',''''4''''''''''9''9''''''''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,499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48"/>
            </p:custDataLst>
          </p:nvPr>
        </p:nvSpPr>
        <p:spPr bwMode="auto">
          <a:xfrm>
            <a:off x="1428750" y="4271962"/>
            <a:ext cx="3175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17E29015-6E5C-4EAE-9142-7B934A3B7FB6}" type="datetime'2''''''0''''''''1''''''1''''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1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4" name="Овал 213"/>
          <p:cNvSpPr/>
          <p:nvPr>
            <p:custDataLst>
              <p:tags r:id="rId49"/>
            </p:custDataLst>
          </p:nvPr>
        </p:nvSpPr>
        <p:spPr bwMode="auto">
          <a:xfrm>
            <a:off x="1798637" y="2397125"/>
            <a:ext cx="447675" cy="2349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fld id="{C71E7E6B-D7DA-4E74-9F1B-18758AFEB4E4}" type="datetime'''''+''''4''''''''%'''''''''''''''''''">
              <a:rPr lang="en-US" sz="1200" b="1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>
                <a:lnSpc>
                  <a:spcPct val="90000"/>
                </a:lnSpc>
              </a:pPr>
              <a:t>+4%</a:t>
            </a:fld>
            <a:endParaRPr lang="ru-RU" sz="1200" b="1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50"/>
            </p:custDataLst>
          </p:nvPr>
        </p:nvSpPr>
        <p:spPr bwMode="auto">
          <a:xfrm>
            <a:off x="3248025" y="4271962"/>
            <a:ext cx="31750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16E0658F-006C-40AE-946B-E8C1787A2565}" type="datetime'2''0''''''''''''1''''''''''''''3''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 algn="ctr"/>
              <a:t>2013</a:t>
            </a:fld>
            <a:endParaRPr lang="ru-RU" sz="12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2" name="TextBox 221"/>
          <p:cNvSpPr txBox="1"/>
          <p:nvPr>
            <p:custDataLst>
              <p:tags r:id="rId51"/>
            </p:custDataLst>
          </p:nvPr>
        </p:nvSpPr>
        <p:spPr>
          <a:xfrm>
            <a:off x="665110" y="1837533"/>
            <a:ext cx="37608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 итогам 2013 г. резко сократилась численность ИП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4" name="Прямоугольник 223"/>
          <p:cNvSpPr/>
          <p:nvPr>
            <p:custDataLst>
              <p:tags r:id="rId52"/>
            </p:custDataLst>
          </p:nvPr>
        </p:nvSpPr>
        <p:spPr bwMode="auto">
          <a:xfrm>
            <a:off x="1527175" y="4667250"/>
            <a:ext cx="214312" cy="160337"/>
          </a:xfrm>
          <a:prstGeom prst="rect">
            <a:avLst/>
          </a:prstGeom>
          <a:solidFill>
            <a:srgbClr val="00519A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23" name="Прямоугольник 222"/>
          <p:cNvSpPr/>
          <p:nvPr>
            <p:custDataLst>
              <p:tags r:id="rId53"/>
            </p:custDataLst>
          </p:nvPr>
        </p:nvSpPr>
        <p:spPr bwMode="auto">
          <a:xfrm>
            <a:off x="1792287" y="4662487"/>
            <a:ext cx="1741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6136F500-2444-46A3-A39C-32533BA19DCD}" type="datetime'Ч''исл''ен''но''''сть'' И''''П'''''', тыс.'''' ''''ч''''ел.'">
              <a:rPr lang="en-US" sz="12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Численность ИП, тыс. чел.</a:t>
            </a:fld>
            <a:endParaRPr lang="ru-RU" sz="12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Скругленный прямоугольник 75"/>
          <p:cNvSpPr/>
          <p:nvPr>
            <p:custDataLst>
              <p:tags r:id="rId54"/>
            </p:custDataLst>
          </p:nvPr>
        </p:nvSpPr>
        <p:spPr>
          <a:xfrm>
            <a:off x="774649" y="5619780"/>
            <a:ext cx="8105886" cy="839799"/>
          </a:xfrm>
          <a:prstGeom prst="roundRect">
            <a:avLst/>
          </a:prstGeom>
          <a:noFill/>
          <a:ln w="19050">
            <a:solidFill>
              <a:srgbClr val="E46C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2014 года страховые взносы ИП в ПФР стали делиться на (№ 237-ФЗ от 23 июля 2013 г.):</a:t>
            </a:r>
          </a:p>
          <a:p>
            <a:pPr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иксированную часть;</a:t>
            </a:r>
          </a:p>
          <a:p>
            <a:pPr marL="180975" indent="-180975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дивидуальную часть страховых взносов в ПФР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3" name="Скругленный прямоугольник 92"/>
          <p:cNvSpPr/>
          <p:nvPr>
            <p:custDataLst>
              <p:tags r:id="rId55"/>
            </p:custDataLst>
          </p:nvPr>
        </p:nvSpPr>
        <p:spPr>
          <a:xfrm>
            <a:off x="920700" y="909603"/>
            <a:ext cx="7704243" cy="730260"/>
          </a:xfrm>
          <a:prstGeom prst="roundRect">
            <a:avLst/>
          </a:prstGeom>
          <a:noFill/>
          <a:ln w="19050">
            <a:solidFill>
              <a:srgbClr val="E46C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2013 года страховые взносы ИП были фиксированными, но значительно выросли по  сравнению с 2012 г. (п. 7 ст. 3 № 243-ФЗ)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4" name="Прямоугольник 93"/>
          <p:cNvSpPr/>
          <p:nvPr>
            <p:custDataLst>
              <p:tags r:id="rId56"/>
            </p:custDataLst>
          </p:nvPr>
        </p:nvSpPr>
        <p:spPr>
          <a:xfrm>
            <a:off x="628596" y="-3222"/>
            <a:ext cx="6316749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Законодательные изменения, вступившие в силу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Наблюдается негативная реакция на изменение страховых взносов для ИП</a:t>
            </a:r>
          </a:p>
        </p:txBody>
      </p:sp>
      <p:sp>
        <p:nvSpPr>
          <p:cNvPr id="95" name="Стрелка вниз 94"/>
          <p:cNvSpPr/>
          <p:nvPr>
            <p:custDataLst>
              <p:tags r:id="rId57"/>
            </p:custDataLst>
          </p:nvPr>
        </p:nvSpPr>
        <p:spPr>
          <a:xfrm>
            <a:off x="4357686" y="1968480"/>
            <a:ext cx="428628" cy="3395709"/>
          </a:xfrm>
          <a:prstGeom prst="downArrow">
            <a:avLst/>
          </a:prstGeom>
          <a:noFill/>
          <a:ln>
            <a:solidFill>
              <a:srgbClr val="E46C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4146" name="think-cell Slide" r:id="rId24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28596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в т.ч. </a:t>
            </a:r>
            <a:r>
              <a:rPr lang="ru-RU" sz="1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кропредприятия</a:t>
            </a: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: «</a:t>
            </a:r>
            <a:r>
              <a:rPr lang="ru-RU" sz="1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сультантПлюс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, информационный ресурс </a:t>
            </a: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nalog-briz.ru</a:t>
            </a: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6</a:t>
            </a:r>
          </a:p>
        </p:txBody>
      </p:sp>
      <p:sp>
        <p:nvSpPr>
          <p:cNvPr id="93" name="Скругленный прямоугольник 92"/>
          <p:cNvSpPr/>
          <p:nvPr>
            <p:custDataLst>
              <p:tags r:id="rId7"/>
            </p:custDataLst>
          </p:nvPr>
        </p:nvSpPr>
        <p:spPr>
          <a:xfrm>
            <a:off x="920700" y="1347759"/>
            <a:ext cx="7704243" cy="1131903"/>
          </a:xfrm>
          <a:prstGeom prst="roundRect">
            <a:avLst/>
          </a:prstGeom>
          <a:noFill/>
          <a:ln w="19050">
            <a:solidFill>
              <a:srgbClr val="E46C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 2014 года изменился порядок расчета налога на имущество организаций – базой становится кадастровая стоимость объектов (№307-ФЗ от 2 ноября 2013 г.):</a:t>
            </a:r>
          </a:p>
          <a:p>
            <a:pPr>
              <a:buFont typeface="Wingdings" pitchFamily="2" charset="2"/>
              <a:buChar char="Ø"/>
            </a:pP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. Москва – 1,5%</a:t>
            </a:r>
          </a:p>
          <a:p>
            <a:pPr marL="180975" indent="-180975">
              <a:buFont typeface="Wingdings" pitchFamily="2" charset="2"/>
              <a:buChar char="Ø"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регионы – 1%.</a:t>
            </a:r>
          </a:p>
        </p:txBody>
      </p:sp>
      <p:sp>
        <p:nvSpPr>
          <p:cNvPr id="94" name="Прямоугольник 93"/>
          <p:cNvSpPr/>
          <p:nvPr>
            <p:custDataLst>
              <p:tags r:id="rId8"/>
            </p:custDataLst>
          </p:nvPr>
        </p:nvSpPr>
        <p:spPr>
          <a:xfrm>
            <a:off x="628596" y="-3222"/>
            <a:ext cx="6316749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Законодательные изменения, вступившие в силу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Рост налога на недвижимость способен негативно сказаться на развитии МСП</a:t>
            </a:r>
          </a:p>
        </p:txBody>
      </p:sp>
      <p:sp>
        <p:nvSpPr>
          <p:cNvPr id="18" name="Текст 8"/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1030239" y="2698741"/>
            <a:ext cx="3359196" cy="3541760"/>
          </a:xfrm>
          <a:prstGeom prst="roundRect">
            <a:avLst/>
          </a:prstGeom>
          <a:ln w="19050" cap="flat" cmpd="sng" algn="ctr">
            <a:solidFill>
              <a:srgbClr val="E46C0A"/>
            </a:solidFill>
            <a:prstDash val="solid"/>
            <a:miter lim="800000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6000" tIns="3600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аза может исчисляться исходя из кадастровой стоимости применительно к следующим объектам:</a:t>
            </a:r>
          </a:p>
          <a:p>
            <a:pPr marL="180975" indent="-180975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Ц и ТЦ;</a:t>
            </a:r>
          </a:p>
          <a:p>
            <a:pPr marL="180975" indent="-180975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мещения для офисов, торговли и общепита;</a:t>
            </a:r>
          </a:p>
          <a:p>
            <a:pPr marL="180975" indent="-180975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ностранные компании без постоянных представительств.</a:t>
            </a:r>
          </a:p>
        </p:txBody>
      </p:sp>
      <p:graphicFrame>
        <p:nvGraphicFramePr>
          <p:cNvPr id="19" name="Объект 18"/>
          <p:cNvGraphicFramePr>
            <a:graphicFrameLocks noChangeAspect="1"/>
          </p:cNvGraphicFramePr>
          <p:nvPr/>
        </p:nvGraphicFramePr>
        <p:xfrm>
          <a:off x="4756150" y="3938587"/>
          <a:ext cx="1819345" cy="1819260"/>
        </p:xfrm>
        <a:graphic>
          <a:graphicData uri="http://schemas.openxmlformats.org/presentationml/2006/ole">
            <p:oleObj spid="_x0000_s134147" name="Диаграмма" r:id="rId26" imgW="1819345" imgH="1819260" progId="MSGraph.Chart.8">
              <p:embed followColorScheme="full"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10"/>
            </p:custDataLst>
          </p:nvPr>
        </p:nvSpPr>
        <p:spPr bwMode="gray">
          <a:xfrm>
            <a:off x="5132387" y="5300662"/>
            <a:ext cx="2682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E37C5911-0A31-49A2-957D-E3758CC53D66}" type="datetime'''''''''''''''''8''0''''''%''''''''''''''''''''''''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80%</a:t>
            </a:fld>
            <a:endParaRPr lang="ru-RU" sz="100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4" name="TextBox 23"/>
          <p:cNvSpPr txBox="1"/>
          <p:nvPr>
            <p:custDataLst>
              <p:tags r:id="rId11"/>
            </p:custDataLst>
          </p:nvPr>
        </p:nvSpPr>
        <p:spPr>
          <a:xfrm>
            <a:off x="4571999" y="2782669"/>
            <a:ext cx="21907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чти 20% МП* РФ заняты операциями с недвижимым имуществом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Прямоугольник 31"/>
          <p:cNvSpPr/>
          <p:nvPr>
            <p:custDataLst>
              <p:tags r:id="rId12"/>
            </p:custDataLst>
          </p:nvPr>
        </p:nvSpPr>
        <p:spPr bwMode="auto">
          <a:xfrm>
            <a:off x="5451475" y="6146800"/>
            <a:ext cx="179387" cy="133350"/>
          </a:xfrm>
          <a:prstGeom prst="rect">
            <a:avLst/>
          </a:prstGeom>
          <a:solidFill>
            <a:srgbClr val="3BA2FF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13"/>
            </p:custDataLst>
          </p:nvPr>
        </p:nvSpPr>
        <p:spPr bwMode="auto">
          <a:xfrm>
            <a:off x="5451475" y="5943600"/>
            <a:ext cx="179387" cy="133350"/>
          </a:xfrm>
          <a:prstGeom prst="rect">
            <a:avLst/>
          </a:prstGeom>
          <a:solidFill>
            <a:srgbClr val="9BC62E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>
            <p:custDataLst>
              <p:tags r:id="rId14"/>
            </p:custDataLst>
          </p:nvPr>
        </p:nvSpPr>
        <p:spPr bwMode="auto">
          <a:xfrm>
            <a:off x="5681662" y="6143625"/>
            <a:ext cx="4079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E914B66D-76B2-4C25-9C20-193A02F23165}" type="datetime'''П''''''р''о''''ч''''''''''''''и''''''''''е'''''">
              <a:rPr lang="en-US" sz="10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Прочие</a:t>
            </a:fld>
            <a:endParaRPr lang="ru-RU" sz="10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5"/>
            </p:custDataLst>
          </p:nvPr>
        </p:nvSpPr>
        <p:spPr bwMode="auto">
          <a:xfrm>
            <a:off x="5681662" y="5940425"/>
            <a:ext cx="27178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1CA53C32-7E72-4CCD-AD8D-417D633CB1E5}" type="datetime'Опер. с ''''недв. им., аре''нда и  пред''остав''лени''е услуг'">
              <a:rPr lang="en-US" sz="10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Опер. с недв. им., аренда и  предоставление услуг</a:t>
            </a:fld>
            <a:endParaRPr lang="ru-RU" sz="1000" dirty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33" name="Объект 32"/>
          <p:cNvGraphicFramePr>
            <a:graphicFrameLocks noChangeAspect="1"/>
          </p:cNvGraphicFramePr>
          <p:nvPr/>
        </p:nvGraphicFramePr>
        <p:xfrm>
          <a:off x="7073900" y="3938587"/>
          <a:ext cx="1819345" cy="1819260"/>
        </p:xfrm>
        <a:graphic>
          <a:graphicData uri="http://schemas.openxmlformats.org/presentationml/2006/ole">
            <p:oleObj spid="_x0000_s134148" name="Диаграмма" r:id="rId27" imgW="1819345" imgH="1819260" progId="MSGraph.Chart.8">
              <p:embed followColorScheme="full"/>
            </p:oleObj>
          </a:graphicData>
        </a:graphic>
      </p:graphicFrame>
      <p:sp>
        <p:nvSpPr>
          <p:cNvPr id="34" name="Прямоугольник 33"/>
          <p:cNvSpPr/>
          <p:nvPr>
            <p:custDataLst>
              <p:tags r:id="rId16"/>
            </p:custDataLst>
          </p:nvPr>
        </p:nvSpPr>
        <p:spPr bwMode="gray">
          <a:xfrm>
            <a:off x="7624762" y="5413375"/>
            <a:ext cx="2682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7CE5A270-D846-4007-85A4-E03EB1DD0879}" type="datetime'9''''''''''''''''''''''''''''''''0''%''''''''''''''''''''''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90%</a:t>
            </a:fld>
            <a:endParaRPr lang="ru-RU" sz="100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6" name="TextBox 35"/>
          <p:cNvSpPr txBox="1"/>
          <p:nvPr>
            <p:custDataLst>
              <p:tags r:id="rId17"/>
            </p:custDataLst>
          </p:nvPr>
        </p:nvSpPr>
        <p:spPr>
          <a:xfrm>
            <a:off x="6835806" y="2782887"/>
            <a:ext cx="2300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0% совокупных оборотов МП* РФ приходится на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операциями с недвижимым имуществом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18"/>
            </p:custDataLst>
          </p:nvPr>
        </p:nvSpPr>
        <p:spPr>
          <a:xfrm>
            <a:off x="5959494" y="3644900"/>
            <a:ext cx="949337" cy="246221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419 тыс. ед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3" name="Прямая соединительная линия 42"/>
          <p:cNvCxnSpPr>
            <a:endCxn id="41" idx="2"/>
          </p:cNvCxnSpPr>
          <p:nvPr>
            <p:custDataLst>
              <p:tags r:id="rId19"/>
            </p:custDataLst>
          </p:nvPr>
        </p:nvCxnSpPr>
        <p:spPr>
          <a:xfrm rot="5400000" flipH="1" flipV="1">
            <a:off x="6191725" y="3914842"/>
            <a:ext cx="266159" cy="2187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>
            <p:custDataLst>
              <p:tags r:id="rId20"/>
            </p:custDataLst>
          </p:nvPr>
        </p:nvSpPr>
        <p:spPr>
          <a:xfrm>
            <a:off x="8077248" y="3644900"/>
            <a:ext cx="949337" cy="246221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2,6 </a:t>
            </a:r>
            <a:r>
              <a:rPr lang="ru-RU" sz="1000" dirty="0" err="1" smtClean="0">
                <a:latin typeface="Times New Roman" pitchFamily="18" charset="0"/>
                <a:cs typeface="Times New Roman" pitchFamily="18" charset="0"/>
              </a:rPr>
              <a:t>трлн</a:t>
            </a: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 руб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0" name="Прямая соединительная линия 49"/>
          <p:cNvCxnSpPr>
            <a:endCxn id="49" idx="2"/>
          </p:cNvCxnSpPr>
          <p:nvPr>
            <p:custDataLst>
              <p:tags r:id="rId21"/>
            </p:custDataLst>
          </p:nvPr>
        </p:nvCxnSpPr>
        <p:spPr>
          <a:xfrm rot="5400000" flipH="1" flipV="1">
            <a:off x="8399591" y="3897395"/>
            <a:ext cx="158600" cy="1460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050" name="think-cell Slide" r:id="rId11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4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738135" y="6357958"/>
            <a:ext cx="8405865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«</a:t>
            </a:r>
            <a:r>
              <a:rPr lang="ru-RU" sz="1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сультантПлюс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28596" y="-3222"/>
            <a:ext cx="6426288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Законодательные изменения, которые вступят в силу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В будущем году ожидается ужесточение налогового законодательства для всех предприятий</a:t>
            </a: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7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8"/>
            </p:custDataLst>
          </p:nvPr>
        </p:nvSpPr>
        <p:spPr>
          <a:xfrm>
            <a:off x="4973643" y="1311246"/>
            <a:ext cx="3763964" cy="2117754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811161" y="1274733"/>
          <a:ext cx="8069372" cy="5173604"/>
        </p:xfrm>
        <a:graphic>
          <a:graphicData uri="http://schemas.openxmlformats.org/drawingml/2006/table">
            <a:tbl>
              <a:tblPr/>
              <a:tblGrid>
                <a:gridCol w="1776034"/>
                <a:gridCol w="1544378"/>
                <a:gridCol w="4748960"/>
              </a:tblGrid>
              <a:tr h="4892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атья</a:t>
                      </a: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ематика</a:t>
                      </a: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ть</a:t>
                      </a: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</a:tr>
              <a:tr h="148203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п</a:t>
                      </a: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. 2 п. 3 ст. 76 НК РФ</a:t>
                      </a: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плата и взыскание налог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логовый орган сможет приостанавливать операции по счетам налогоплательщика в банке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, а также переводы его электронных денежных средств в случае неисполнения обязанности по передаче налоговому органу квитанции о приеме требования о представлении документов или пояснений, а также уведомления о вызове в налоговый орган</a:t>
                      </a: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4689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. 1 ст. 193 НК РФ</a:t>
                      </a: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Акциз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удут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полнительно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индексированы ставки акциза на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автомобильный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бензин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4-го и 5-го классов</a:t>
                      </a: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851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. 2 ст. 346.11 НК РФ</a:t>
                      </a: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СН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рганизации, применяющие УСН, не будут освобождаться от уплаты налога на имущество организаций в отношении объектов, которые облагаются указанным налогом исходя из кадастровой стоимости</a:t>
                      </a: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8514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п. 4 ст. 346.26 НК РФ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НВ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свобождение от налога на имущество организаций при применении ЕНВД не будет распространяться на объекты, налоговая база по которым определяется как их кадастровая стоимость</a:t>
                      </a: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10049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ч. 3 ст. 25 Федерального закона от 24.07.2009 N 212-ФЗ</a:t>
                      </a: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траховые взносы в Пенсионный фонд РФ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ень погашения задолженности по страховым взносам включается в период начисления пеней</a:t>
                      </a:r>
                    </a:p>
                    <a:p>
                      <a:pPr algn="l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>
            <p:custDataLst>
              <p:tags r:id="rId9"/>
            </p:custDataLst>
          </p:nvPr>
        </p:nvSpPr>
        <p:spPr>
          <a:xfrm>
            <a:off x="811162" y="982629"/>
            <a:ext cx="36147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зменения НК, которые вступят в силу с 2015 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2098" name="think-cell Slide" r:id="rId27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28596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* в т.ч. </a:t>
            </a:r>
            <a:r>
              <a:rPr lang="ru-RU" sz="1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икропредприятия</a:t>
            </a: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rbc.ru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, оценка АНО «НИСИПП» на основе данных Росстат</a:t>
            </a: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28596" y="-3222"/>
            <a:ext cx="6426288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Законодательные изменения, в стадии обсуждения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В будущем году может сильно ухудшиться состояние малого бизнеса</a:t>
            </a: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8</a:t>
            </a:r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811162" y="982629"/>
            <a:ext cx="41259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зменения НК, которые могут вступить в силу с 2015 г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custDataLst>
              <p:tags r:id="rId9"/>
            </p:custDataLst>
          </p:nvPr>
        </p:nvGraphicFramePr>
        <p:xfrm>
          <a:off x="774648" y="1274732"/>
          <a:ext cx="4783203" cy="5113030"/>
        </p:xfrm>
        <a:graphic>
          <a:graphicData uri="http://schemas.openxmlformats.org/drawingml/2006/table">
            <a:tbl>
              <a:tblPr/>
              <a:tblGrid>
                <a:gridCol w="1271784"/>
                <a:gridCol w="955509"/>
                <a:gridCol w="1058877"/>
                <a:gridCol w="1497033"/>
              </a:tblGrid>
              <a:tr h="6143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деятельности</a:t>
                      </a: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пецифика</a:t>
                      </a: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квартальный сбор, руб.</a:t>
                      </a:r>
                    </a:p>
                  </a:txBody>
                  <a:tcPr marL="43485" marR="43485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FFC000"/>
                        </a:gs>
                        <a:gs pos="50000">
                          <a:srgbClr val="F0EBD5"/>
                        </a:gs>
                        <a:gs pos="100000">
                          <a:srgbClr val="FFC000"/>
                        </a:gs>
                      </a:gsLst>
                      <a:lin ang="5400000" scaled="0"/>
                    </a:gradFill>
                  </a:tcPr>
                </a:tc>
              </a:tr>
              <a:tr h="302183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Calibri" pitchFamily="34" charset="0"/>
                          <a:cs typeface="Times New Roman" pitchFamily="18" charset="0"/>
                        </a:rPr>
                        <a:t>Торговля и услуги общественного питания</a:t>
                      </a: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7200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Без торговых залов</a:t>
                      </a: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600 тыс.</a:t>
                      </a: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л. тор.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зала ≤50м</a:t>
                      </a:r>
                      <a:r>
                        <a:rPr lang="ru-RU" sz="1200" b="0" baseline="300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л. тор. 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зала &gt;50м</a:t>
                      </a:r>
                      <a:r>
                        <a:rPr lang="ru-RU" sz="1200" b="0" baseline="300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dirty="0" smtClean="0">
                          <a:latin typeface="Times New Roman" pitchFamily="18" charset="0"/>
                          <a:cs typeface="Times New Roman" pitchFamily="18" charset="0"/>
                        </a:rPr>
                        <a:t>6 тыс.</a:t>
                      </a:r>
                      <a:r>
                        <a:rPr lang="en-US" sz="1200" b="1" i="0" dirty="0" smtClean="0">
                          <a:latin typeface="Times New Roman" pitchFamily="18" charset="0"/>
                          <a:cs typeface="Times New Roman" pitchFamily="18" charset="0"/>
                        </a:rPr>
                        <a:t>/</a:t>
                      </a:r>
                      <a:r>
                        <a:rPr lang="ru-RU" sz="1200" b="1" i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м</a:t>
                      </a:r>
                      <a:r>
                        <a:rPr lang="ru-RU" sz="1200" b="1" i="0" kern="1200" baseline="30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</a:t>
                      </a:r>
                      <a:r>
                        <a:rPr lang="ru-RU" sz="1200" b="1" i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зала</a:t>
                      </a: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Отпуск товаров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о склад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000" marR="10800" marT="1080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еревозка</a:t>
                      </a:r>
                      <a:r>
                        <a:rPr lang="ru-RU" sz="1200" b="1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 автомобильным транспортом</a:t>
                      </a:r>
                      <a:endParaRPr lang="ru-RU" sz="1200" b="1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Грузов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Пассажиров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&lt;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,5 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&lt; 5 мес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3,5 - 5,0 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5-8 мес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5,0 -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,0 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8-16 мес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&gt; 10,0 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&gt;</a:t>
                      </a:r>
                      <a:r>
                        <a:rPr lang="ru-RU" sz="12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6 мест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0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Услуги</a:t>
                      </a:r>
                      <a:r>
                        <a:rPr lang="ru-RU" sz="1200" b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: парикмахерские; косметические,</a:t>
                      </a:r>
                      <a:r>
                        <a:rPr lang="ru-RU" sz="1200" b="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ремонт, мойка, техобслуживание автомобильных средств</a:t>
                      </a:r>
                      <a:endParaRPr lang="ru-RU" sz="1200" b="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лощадь &lt; 50 м</a:t>
                      </a:r>
                      <a:r>
                        <a:rPr lang="ru-RU" sz="1200" b="0" baseline="300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лощадь от 50 до 100 м</a:t>
                      </a:r>
                      <a:r>
                        <a:rPr lang="ru-RU" sz="1200" b="0" baseline="300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лощадь от 100 до150 м</a:t>
                      </a:r>
                      <a:r>
                        <a:rPr lang="ru-RU" sz="1200" b="0" baseline="300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57031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b="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лощадь &gt; 150 м</a:t>
                      </a:r>
                      <a:r>
                        <a:rPr lang="ru-RU" sz="1200" b="0" baseline="30000" dirty="0" smtClean="0"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00 тыс.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3021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рочий</a:t>
                      </a:r>
                      <a:r>
                        <a:rPr lang="ru-RU" sz="1200" b="0" baseline="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ремонт</a:t>
                      </a:r>
                      <a:endParaRPr lang="ru-RU" sz="1200" b="0" dirty="0" smtClean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42168" marR="42168" marT="0" marB="0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-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00 тыс.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2060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9" name="Объект 18"/>
          <p:cNvGraphicFramePr>
            <a:graphicFrameLocks noChangeAspect="1"/>
          </p:cNvGraphicFramePr>
          <p:nvPr/>
        </p:nvGraphicFramePr>
        <p:xfrm>
          <a:off x="6415087" y="1814512"/>
          <a:ext cx="1819345" cy="1819260"/>
        </p:xfrm>
        <a:graphic>
          <a:graphicData uri="http://schemas.openxmlformats.org/presentationml/2006/ole">
            <p:oleObj spid="_x0000_s132099" name="Диаграмма" r:id="rId29" imgW="1819345" imgH="1819260" progId="MSGraph.Chart.8">
              <p:embed followColorScheme="full"/>
            </p:oleObj>
          </a:graphicData>
        </a:graphic>
      </p:graphicFrame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 bwMode="gray">
          <a:xfrm>
            <a:off x="7545387" y="3249612"/>
            <a:ext cx="204787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F14A6E0A-4CCF-4020-B4CA-2E4A928048A0}" type="datetime'''''''''''''''''''''''''''''''''''''''''''''''''''''6%''''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6%</a:t>
            </a:fld>
            <a:endParaRPr lang="ru-RU" sz="1000" dirty="0" smtClean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1"/>
            </p:custDataLst>
          </p:nvPr>
        </p:nvSpPr>
        <p:spPr bwMode="gray">
          <a:xfrm>
            <a:off x="7359650" y="3289300"/>
            <a:ext cx="204787" cy="152400"/>
          </a:xfrm>
          <a:prstGeom prst="rect">
            <a:avLst/>
          </a:prstGeom>
          <a:solidFill>
            <a:srgbClr val="0076E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0386BE15-BA5D-42DF-B24E-C145B39214C2}" type="datetime'''''''''''''''''''''''''''''''''''''''''''3''''%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3%</a:t>
            </a:fld>
            <a:endParaRPr lang="ru-RU" sz="1000" dirty="0" smtClean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2"/>
            </p:custDataLst>
          </p:nvPr>
        </p:nvSpPr>
        <p:spPr bwMode="gray">
          <a:xfrm>
            <a:off x="6516687" y="2684462"/>
            <a:ext cx="2682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1CDA278D-2ECA-4E89-A3F3-A6B508FDB6D8}" type="datetime'5''''''''2''%''''''''''''''''''''''''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52%</a:t>
            </a:fld>
            <a:endParaRPr lang="ru-RU" sz="100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32" name="Объект 31"/>
          <p:cNvGraphicFramePr>
            <a:graphicFrameLocks noChangeAspect="1"/>
          </p:cNvGraphicFramePr>
          <p:nvPr/>
        </p:nvGraphicFramePr>
        <p:xfrm>
          <a:off x="6415087" y="4119562"/>
          <a:ext cx="1819345" cy="1819260"/>
        </p:xfrm>
        <a:graphic>
          <a:graphicData uri="http://schemas.openxmlformats.org/presentationml/2006/ole">
            <p:oleObj spid="_x0000_s132100" name="Диаграмма" r:id="rId30" imgW="1819345" imgH="1819260" progId="MSGraph.Chart.8">
              <p:embed followColorScheme="full"/>
            </p:oleObj>
          </a:graphicData>
        </a:graphic>
      </p:graphicFrame>
      <p:sp>
        <p:nvSpPr>
          <p:cNvPr id="33" name="Прямоугольник 32"/>
          <p:cNvSpPr/>
          <p:nvPr>
            <p:custDataLst>
              <p:tags r:id="rId13"/>
            </p:custDataLst>
          </p:nvPr>
        </p:nvSpPr>
        <p:spPr bwMode="gray">
          <a:xfrm>
            <a:off x="6805612" y="5494337"/>
            <a:ext cx="204787" cy="152400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EE1C5E2B-0165-4400-B0B5-586BD82A6DBC}" type="datetime'''''''''4''''''''''''''''''''''''''''%''''''''''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4%</a:t>
            </a:fld>
            <a:endParaRPr lang="ru-RU" sz="1000" dirty="0" smtClean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14"/>
            </p:custDataLst>
          </p:nvPr>
        </p:nvSpPr>
        <p:spPr bwMode="gray">
          <a:xfrm>
            <a:off x="6794500" y="5341937"/>
            <a:ext cx="204787" cy="152400"/>
          </a:xfrm>
          <a:prstGeom prst="rect">
            <a:avLst/>
          </a:prstGeom>
          <a:solidFill>
            <a:srgbClr val="0076E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DF627645-14D6-4219-A690-E3E72934CF2A}" type="datetime'''''''''2%''''''''''''''''''''''''''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2%</a:t>
            </a:fld>
            <a:endParaRPr lang="ru-RU" sz="1000" dirty="0" smtClean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5"/>
            </p:custDataLst>
          </p:nvPr>
        </p:nvSpPr>
        <p:spPr bwMode="gray">
          <a:xfrm>
            <a:off x="6591300" y="4668837"/>
            <a:ext cx="2682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2" tIns="0" rIns="17462" bIns="0" rtlCol="0" anchor="ctr" anchorCtr="0">
            <a:noAutofit/>
          </a:bodyPr>
          <a:lstStyle/>
          <a:p>
            <a:pPr algn="ctr"/>
            <a:fld id="{CDA89187-E369-4DB1-943C-DB460ABDA216}" type="datetime'''''''''3''''''''''''''6''''''''''%'''">
              <a:rPr lang="en-US" sz="1000" smtClean="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algn="ctr"/>
              <a:t>36%</a:t>
            </a:fld>
            <a:endParaRPr lang="ru-RU" sz="100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16"/>
            </p:custDataLst>
          </p:nvPr>
        </p:nvSpPr>
        <p:spPr bwMode="auto">
          <a:xfrm>
            <a:off x="5846762" y="6188075"/>
            <a:ext cx="179388" cy="133350"/>
          </a:xfrm>
          <a:prstGeom prst="rect">
            <a:avLst/>
          </a:prstGeom>
          <a:solidFill>
            <a:srgbClr val="00519A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7"/>
            </p:custDataLst>
          </p:nvPr>
        </p:nvSpPr>
        <p:spPr bwMode="auto">
          <a:xfrm>
            <a:off x="7134225" y="5984875"/>
            <a:ext cx="179388" cy="133350"/>
          </a:xfrm>
          <a:prstGeom prst="rect">
            <a:avLst/>
          </a:prstGeom>
          <a:solidFill>
            <a:srgbClr val="0076E2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8"/>
            </p:custDataLst>
          </p:nvPr>
        </p:nvSpPr>
        <p:spPr bwMode="auto">
          <a:xfrm>
            <a:off x="5846762" y="5984875"/>
            <a:ext cx="179388" cy="133350"/>
          </a:xfrm>
          <a:prstGeom prst="rect">
            <a:avLst/>
          </a:prstGeom>
          <a:solidFill>
            <a:srgbClr val="9BC62E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400" dirty="0" smtClean="0">
              <a:solidFill>
                <a:schemeClr val="bg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19"/>
            </p:custDataLst>
          </p:nvPr>
        </p:nvSpPr>
        <p:spPr bwMode="auto">
          <a:xfrm>
            <a:off x="7134225" y="6188075"/>
            <a:ext cx="179388" cy="133350"/>
          </a:xfrm>
          <a:prstGeom prst="rect">
            <a:avLst/>
          </a:prstGeom>
          <a:solidFill>
            <a:srgbClr val="3BA2FF"/>
          </a:solidFill>
          <a:ln w="952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>
            <p:custDataLst>
              <p:tags r:id="rId20"/>
            </p:custDataLst>
          </p:nvPr>
        </p:nvSpPr>
        <p:spPr bwMode="auto">
          <a:xfrm>
            <a:off x="6076950" y="5981700"/>
            <a:ext cx="95567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A83E9D95-2728-4838-9B52-EBDC181C347F}" type="datetime'''''''''''Т''''''ор''го''вля'', р''''''''ем''о''''н''''т'">
              <a:rPr lang="en-US" sz="10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Торговля, ремонт</a:t>
            </a:fld>
            <a:endParaRPr lang="ru-RU" sz="10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3" name="Прямоугольник 42"/>
          <p:cNvSpPr/>
          <p:nvPr>
            <p:custDataLst>
              <p:tags r:id="rId21"/>
            </p:custDataLst>
          </p:nvPr>
        </p:nvSpPr>
        <p:spPr bwMode="auto">
          <a:xfrm>
            <a:off x="6076950" y="6184900"/>
            <a:ext cx="57467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091D8B3A-E0BA-4DFB-95CA-F8BE7A399C1B}" type="datetime'''''''''''Т''''''''''''''р''''а''''''нс''''п''о''''р''т'''''">
              <a:rPr lang="en-US" sz="10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Транспорт</a:t>
            </a:fld>
            <a:endParaRPr lang="ru-RU" sz="10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4" name="Прямоугольник 43"/>
          <p:cNvSpPr/>
          <p:nvPr>
            <p:custDataLst>
              <p:tags r:id="rId22"/>
            </p:custDataLst>
          </p:nvPr>
        </p:nvSpPr>
        <p:spPr bwMode="auto">
          <a:xfrm>
            <a:off x="7364412" y="5981700"/>
            <a:ext cx="1311275" cy="152400"/>
          </a:xfrm>
          <a:prstGeom prst="rect">
            <a:avLst/>
          </a:prstGeom>
          <a:noFill/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8083D417-2ECC-4C95-A90E-BC57B26E83E6}" type="datetime'Г''''ости''''н''и''''ц''ы'' и'''' ''''р''ест''''''ора''''ны'''">
              <a:rPr lang="en-US" sz="10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Гостиницы и рестораны</a:t>
            </a:fld>
            <a:endParaRPr lang="ru-RU" sz="1000" dirty="0" smtClean="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5" name="Прямоугольник 44"/>
          <p:cNvSpPr/>
          <p:nvPr>
            <p:custDataLst>
              <p:tags r:id="rId23"/>
            </p:custDataLst>
          </p:nvPr>
        </p:nvSpPr>
        <p:spPr bwMode="auto">
          <a:xfrm>
            <a:off x="7364412" y="6184900"/>
            <a:ext cx="4079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BD63CDE9-9F56-4ADA-8089-B0FF0E433626}" type="datetime'''П''''''''''р''о''''''''ч''''''''''и''''''''е'">
              <a:rPr lang="en-US" sz="1000" smtClean="0">
                <a:solidFill>
                  <a:schemeClr val="tx1"/>
                </a:solidFill>
                <a:latin typeface="Times New Roman"/>
                <a:cs typeface="Times New Roman"/>
                <a:sym typeface="Times New Roman"/>
              </a:rPr>
              <a:pPr/>
              <a:t>Прочие</a:t>
            </a:fld>
            <a:endParaRPr lang="ru-RU" sz="1000">
              <a:solidFill>
                <a:schemeClr val="tx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6" name="TextBox 45"/>
          <p:cNvSpPr txBox="1"/>
          <p:nvPr>
            <p:custDataLst>
              <p:tags r:id="rId24"/>
            </p:custDataLst>
          </p:nvPr>
        </p:nvSpPr>
        <p:spPr>
          <a:xfrm>
            <a:off x="5521339" y="1287737"/>
            <a:ext cx="36226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чти 40% МП* РФ заняты в торговле и ремонте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7" name="TextBox 46"/>
          <p:cNvSpPr txBox="1"/>
          <p:nvPr>
            <p:custDataLst>
              <p:tags r:id="rId25"/>
            </p:custDataLst>
          </p:nvPr>
        </p:nvSpPr>
        <p:spPr>
          <a:xfrm>
            <a:off x="5521339" y="3624569"/>
            <a:ext cx="36226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Больше половины совокупных оборотов МП* РФ приходится на торговлю и ремонт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8786" name="think-cell Slide" r:id="rId12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4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28596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endPara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628596" y="-3222"/>
            <a:ext cx="6097671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Оценка регулирующего воздействия в России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Times New Roman" pitchFamily="18" charset="0"/>
                <a:cs typeface="Times New Roman" pitchFamily="18" charset="0"/>
              </a:rPr>
              <a:t>Президент России запустил процесс внедрению процедуры ОРВ</a:t>
            </a:r>
          </a:p>
        </p:txBody>
      </p:sp>
      <p:pic>
        <p:nvPicPr>
          <p:cNvPr id="14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9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8"/>
            </p:custDataLst>
          </p:nvPr>
        </p:nvSpPr>
        <p:spPr>
          <a:xfrm>
            <a:off x="4973643" y="1311246"/>
            <a:ext cx="3763964" cy="2117754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Wingdings" pitchFamily="2" charset="2"/>
              <a:buChar char="Ø"/>
            </a:pP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одержимое 18"/>
          <p:cNvSpPr>
            <a:spLocks noGrp="1"/>
          </p:cNvSpPr>
          <p:nvPr>
            <p:ph idx="4294967295"/>
          </p:nvPr>
        </p:nvSpPr>
        <p:spPr>
          <a:xfrm>
            <a:off x="3571868" y="1643050"/>
            <a:ext cx="5338762" cy="2000264"/>
          </a:xfrm>
        </p:spPr>
        <p:txBody>
          <a:bodyPr rtlCol="0">
            <a:normAutofit/>
          </a:bodyPr>
          <a:lstStyle/>
          <a:p>
            <a:pPr marL="361950" indent="-361950" algn="just" eaLnBrk="1" fontAlgn="auto" hangingPunct="1">
              <a:spcAft>
                <a:spcPts val="0"/>
              </a:spcAft>
              <a:buFont typeface="Arial" pitchFamily="34" charset="0"/>
              <a:buChar char="•"/>
              <a:tabLst>
                <a:tab pos="361950" algn="l"/>
              </a:tabLs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каз 7 мая 2012 г. № 601 (направления совершенствования госрегулирования)</a:t>
            </a:r>
          </a:p>
          <a:p>
            <a:pPr marL="361950" indent="-361950" algn="just" eaLnBrk="1" fontAlgn="auto" hangingPunct="1">
              <a:spcAft>
                <a:spcPts val="0"/>
              </a:spcAft>
              <a:buFont typeface="Arial" pitchFamily="34" charset="0"/>
              <a:buChar char="•"/>
              <a:tabLst>
                <a:tab pos="361950" algn="l"/>
              </a:tabLs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РФ от 17 декабря 2012 г. № 1318 (порядок проведения ОРВ)</a:t>
            </a:r>
          </a:p>
          <a:p>
            <a:pPr marL="361950" indent="-361950" algn="just" eaLnBrk="1" fontAlgn="auto" hangingPunct="1">
              <a:spcAft>
                <a:spcPts val="0"/>
              </a:spcAft>
              <a:buFont typeface="Arial" pitchFamily="34" charset="0"/>
              <a:buChar char="•"/>
              <a:tabLst>
                <a:tab pos="361950" algn="l"/>
              </a:tabLs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ановление Правительства Российской Федерации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т 2 мая 2012 г. № 421 (публичные консультации)</a:t>
            </a:r>
          </a:p>
        </p:txBody>
      </p:sp>
      <p:sp>
        <p:nvSpPr>
          <p:cNvPr id="12" name="Текст 8"/>
          <p:cNvSpPr txBox="1">
            <a:spLocks/>
          </p:cNvSpPr>
          <p:nvPr/>
        </p:nvSpPr>
        <p:spPr bwMode="auto">
          <a:xfrm>
            <a:off x="714348" y="1285860"/>
            <a:ext cx="2614613" cy="2643206"/>
          </a:xfrm>
          <a:prstGeom prst="roundRect">
            <a:avLst/>
          </a:prstGeom>
          <a:ln w="25400" cap="flat" cmpd="sng" algn="ctr">
            <a:solidFill>
              <a:srgbClr val="E46C0A"/>
            </a:solidFill>
            <a:prstDash val="solid"/>
            <a:miter lim="800000"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36000" tIns="3600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езидент РФ поручил ввести процедуру публичных обсуждений на этапе разработки проектов актов, в том числе на региональном и муниципальном уровнях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9"/>
            </p:custDataLst>
          </p:nvPr>
        </p:nvSpPr>
        <p:spPr>
          <a:xfrm>
            <a:off x="3571868" y="4071942"/>
            <a:ext cx="5214974" cy="2500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...в прошлом году, в рамках "оценки регулирующего воздействия", которая осуществляется совместно с предпринимательским сообществом, еще на предварительной стадии разработки был отклонен фактически каждый второй проект нормативного акта как ухудшающий условия развития экономики России. Хорошо, что такой "фильтр" начал действовать» </a:t>
            </a:r>
          </a:p>
          <a:p>
            <a:pPr algn="just"/>
            <a:r>
              <a:rPr lang="ru-RU" sz="1600" b="1" i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.В. Путин</a:t>
            </a:r>
            <a:endParaRPr lang="ru-RU" sz="1600" b="1" i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8" name="Рисунок 17" descr="640.c33aa9bdd6f848ef89fa5ade428cd10a.jp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774648" y="4341825"/>
            <a:ext cx="2555910" cy="1898676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30603436054055020000E+000&quot;&gt;&lt;m_ppcolschidx val=&quot;0&quot;/&gt;&lt;m_rgb r=&quot;0&quot; g=&quot;76&quot; b=&quot;e2&quot;/&gt;&lt;/elem&gt;&lt;elem m_fUsage=&quot;2.26806206126215400000E+000&quot;&gt;&lt;m_ppcolschidx val=&quot;0&quot;/&gt;&lt;m_rgb r=&quot;0&quot; g=&quot;51&quot; b=&quot;9a&quot;/&gt;&lt;/elem&gt;&lt;elem m_fUsage=&quot;2.18864309822563860000E+000&quot;&gt;&lt;m_ppcolschidx val=&quot;0&quot;/&gt;&lt;m_rgb r=&quot;3b&quot; g=&quot;a2&quot; b=&quot;ff&quot;/&gt;&lt;/elem&gt;&lt;elem m_fUsage=&quot;1.49049000000000010000E+000&quot;&gt;&lt;m_ppcolschidx val=&quot;0&quot;/&gt;&lt;m_rgb r=&quot;0&quot; g=&quot;84&quot; b=&quot;fb&quot;/&gt;&lt;/elem&gt;&lt;elem m_fUsage=&quot;9.04095319198043090000E-001&quot;&gt;&lt;m_ppcolschidx val=&quot;0&quot;/&gt;&lt;m_rgb r=&quot;79&quot; g=&quot;bf&quot; b=&quot;ff&quot;/&gt;&lt;/elem&gt;&lt;elem m_fUsage=&quot;6.00108972918209300000E-001&quot;&gt;&lt;m_ppcolschidx val=&quot;0&quot;/&gt;&lt;m_rgb r=&quot;9b&quot; g=&quot;c6&quot; b=&quot;2e&quot;/&gt;&lt;/elem&gt;&lt;elem m_fUsage=&quot;1.85302018885184190000E-001&quot;&gt;&lt;m_ppcolschidx val=&quot;0&quot;/&gt;&lt;m_rgb r=&quot;70&quot; g=&quot;8d&quot; b=&quot;21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8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4FT92zvUmhKcUbjGMYZ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Hyc.1e0GfA42q40_0D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Am4LHUUCz0BdGksN.a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._levf1UGA66t_XNd18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wB4y8qRkCzpdBETl1UA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Pk5LOepEKNhwI6Um0MK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CY18hiXkieCwSizGTzn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CBM1_TkkaqPgFbCS_UH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UI1hNDfEada46VAdZ51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lfMG0v0yv7lvJvRnT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j74DNzQkKxsa26RnYHG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yHNykvAkKe0ck5._eS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H_tAo2F0SP27tRl2oN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p1CpNQYk62px5i4AmIh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WCK1ByOEe.b.CTrRioi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ZU.gius06uWnFu8aJ__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cw5zVwuU6d6AhzPk8s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Qb9S6z4ky6scKTziVcQ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0mAdYSTES7xfgNi6F3i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9KIxNtkeTaMgoPnCJe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6lUcH.h0uudiEEPq2s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zuPHsgN0CmwvacUzY_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P0VSgvT0GrEuABta4vf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tQ_Q9RuEq1C9q..ITt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uQc.kEEGhtOeOWGVc8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kKWcaI20C.lWt6MC_W_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uOsljvU239cgn1n1GM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w5wZz8skyIVUBQPqF3V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DGUJDn0OxNeb_ygZtP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2gxMYqy029ytpjcvB3.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A87tQlkmVizLwLAD44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19y.sfLkS7EK75DYlM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6idD_VMEajORykecys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gBpI58Uad2FABMdpvZ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T2RaEapk2XW7TNGzFC9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zsfJH.lUib1aav9rOY5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4nYEHxY0uVk.b1lbl33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GIVYdXa0Cej2xaGc6Ss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RcEzLtGUOlJs1fJYqCh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wlOlF25kGlUhb20YKzR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RnfUDCXUaWFEDxf8Oh8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8vBTFsR0aeosMmHfZBv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.l.LXWyUmmOYO5GjeLc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mEMtoXAECw0Xlmw5.5h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Zl2.ggqEy3l_p3R_fBu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Xz8MtLYU6BxFRRXPmfP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22R5F3Bkm2rFL8CKSpv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i_VmpmEeDb5979opYo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f2AmwJkC7XV2MUFxvD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4SLqbukOt.W2kCmaZb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1HwHxhhkaF0.J_ckywG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zbSeMiUGlc5RdF2vk.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77wITorkiMJ16TTPIl3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Jp6MsSxUeQ7s8gSVws6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Hyc.1e0GfA42q40_0D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Am4LHUUCz0BdGksN.a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._levf1UGA66t_XNd18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blF8t9UOInGFZLWZYC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V9L4.LEOd3N_d.vJ_o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ojEKhF9Umhjjf9L8FS_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tX4gQnkGTmdO5KsHY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lfbk6dYk6kRzINufuTp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wB4y8qRkCzpdBETl1UA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p1CpNQYk62px5i4AmIh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Pk5LOepEKNhwI6Um0MK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CY18hiXkieCwSizGTzn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CBM1_TkkaqPgFbCS_UH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UI1hNDfEada46VAdZ51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lfMG0v0yv7lvJvRnTs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j74DNzQkKxsa26RnYHG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H_tAo2F0SP27tRl2oN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.zATHYP0KE43bN7_Z_2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2_YZTK7EWO7LCJO5WJX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0r9ymDQEWv5xt42fdZa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mrXmBfk0qPORC5gGrf2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leXAp20yGauyGC_tS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rYSvVIHUS.7w4XDuU6V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uOsljvU239cgn1n1G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DGUJDn0OxNeb_ygZtP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eh99JSQkWlEJVmmJ2ub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zsfJH.lUib1aav9rOY5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19y.sfLkS7EK75DYlML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2Uev4yuUy9GCrgREG00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2gxMYqy029ytpjcvB3.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6i2kzrJkqxRvAUtnn8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4nYEHxY0uVk.b1lbl33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GIVYdXa0Cej2xaGc6Ss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RcEzLtGUOlJs1fJYqCh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ZOkhMzkUqe3U6ARWGs0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fb6UXMnkmfP.R5oNYeP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Vli296U2c7TYJIIgT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FY1JaGxUyyaed8xve8d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njveqLq02OwxQxgpZ10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fb6UXMnkmfP.R5oNYeP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Vli296U2c7TYJIIgT4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XpcrK1EEyNyMj_bWwR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W0DzsHzUWIrVJ4fp0P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PkArxSFUSsYlIQdhXSv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3Et0GH_UyVzKAU8Q5a7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JIPxbMsE2KQWQZdrges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XoAig1W0GSlbcTC9QaM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DJJarnTEKGgSRmHuTxD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edai.F00y8qBSYNGCJy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JBAILiv0ubvHLbjjYa.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ohfcw5BE6s1gut.pdbC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bfuqUT.kyp_Xk_PMWU4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54WVQJ.EKq1ARX.l8D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dCH75bv0mV79Z7oE0.T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FY1JaGxUyyaed8xve8d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RnfUDCXUaWFEDxf8Oh8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4nYEHxY0uVk.b1lbl33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RnfUDCXUaWFEDxf8Oh8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eC42gNHkWuMxeoYJq0B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HndWhg4UC9C13WT6CPu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QQfse3KEetgIqWQVjaO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.ApyVyfkeYqy4bIDFOv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vCQL3KUkOaEQToyxRBe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fdueAf506e9_PCj9eL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8vBTFsR0aeosMmHfZBv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r6hvU.fUmyA_7UYsBt2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W6v0eXakam_UMKv2nBs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tONYTMt0WWJZ05yWI.f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4_ocnMxUyijds1yuqrH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A68Su1EEWqKp7dVa6B_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43Vi5lnEyWfmr.lx3Uq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f4rC_cMku23AbV6jOHj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1Tlq0wmkOwq0_a0Mcrg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gxJtqlFU6GTl3doKX9h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E5WZdiskuu7Fppjq5s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pnRqWD802AW8KR79U22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L_10ELUUOc7nxZGRo2m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aVQ8EVWEOjkxC5yRU_L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lnVlwCAUuC75AE9EpAD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FY1JaGxUyyaed8xve8d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RnfUDCXUaWFEDxf8Oh8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INwy7_w0es2owUU4_zk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7V3Abjlky6FgR5ifuZ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Xz8MtLYU6BxFRRXPmf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22R5F3Bkm2rFL8CKSp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mEMtoXAECw0Xlmw5.5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zbSeMiUGlc5RdF2vk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i_VmpmEeDb5979opY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Zl2.ggqEy3l_p3R_fB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77wITorkiMJ16TTPIl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f2AmwJkC7XV2MUFxvD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4SLqbukOt.W2kCmaZ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blF8t9UOInGFZLWZY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V9L4.LEOd3N_d.vJ_o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tX4gQnkGTmdO5KsHYq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ojEKhF9Umhjjf9L8FS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lfbk6dYk6kRzINufuT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Jp6MsSxUeQ7s8gSVws6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RHyc.1e0GfA42q40_0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WAm4LHUUCz0BdGksN.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._levf1UGA66t_XNd1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CBM1_TkkaqPgFbCS_U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CY18hiXkieCwSizGTzn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Pk5LOepEKNhwI6Um0M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wB4y8qRkCzpdBETl1UA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p1CpNQYk62px5i4AmI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H_tAo2F0SP27tRl2oN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UI1hNDfEada46VAdZ51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lfMG0v0yv7lvJvRnTs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j74DNzQkKxsa26RnYH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9lC9W.6EKr1KDP8BFv5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UOpnZG3EiLsAzxkUhDr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WoYXMgOkSjQNRhKznlv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Rh3HBCzE27RaTOBZv2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khXMH_YEUaMM4GZbAOZG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lMvhkV.kCeuZiBZyNBv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3yp67lpEubuf5hDxMa5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0qfwy92UOlUmbXDCC5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LCdbxQV0aKrvywLk9K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vUUigUiUqj8NBnBuMQG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A87tQlkmVizLwLAD44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kKWcaI20C.lWt6MC_W_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T2RaEapk2XW7TNGzFC9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2gxMYqy029ytpjcvB3.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DDGUJDn0OxNeb_ygZtP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uOsljvU239cgn1n1G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19y.sfLkS7EK75DYlM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6idD_VMEajORykecys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cu5xgFZUG1rxb0_zCp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zsfJH.lUib1aav9rOY5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uQc.kEEGhtOeOWGVc8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w5wZz8skyIVUBQPqF3V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4nYEHxY0uVk.b1lbl33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GIVYdXa0Cej2xaGc6Ss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RcEzLtGUOlJs1fJYqCh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lliKmhLE6r7nuu3nCu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FY1JaGxUyyaed8xve8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vd3vBEekmpZiQJyWY8b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_B8eR0mgc4xIM3uS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6nKFdoAEiiM195lBqq9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RnfUDCXUaWFEDxf8Oh8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8vBTFsR0aeosMmHfZBv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crPQh.mkG65H3V4Xdc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mEMtoXAECw0Xlmw5.5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Xz8MtLYU6BxFRRXPmfP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22R5F3Bkm2rFL8CKSpv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Zl2.ggqEy3l_p3R_fBu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77wITorkiMJ16TTPIl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63ZdNQPEqmV7KOonOBn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i_VmpmEeDb5979opYo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6f2AmwJkC7XV2MUFxvD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W4SLqbukOt.W2kCmaZ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czbSeMiUGlc5RdF2vk.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tX4gQnkGTmdO5KsHY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ojEKhF9Umhjjf9L8FS_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lfbk6dYk6kRzINufuT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QV9L4.LEOd3N_d.vJ_o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oblF8t9UOInGFZLWZYC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Jp6MsSxUeQ7s8gSVws6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550</TotalTime>
  <Words>1359</Words>
  <Application>Microsoft Office PowerPoint</Application>
  <PresentationFormat>Экран (4:3)</PresentationFormat>
  <Paragraphs>266</Paragraphs>
  <Slides>10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Тема Office</vt:lpstr>
      <vt:lpstr>Picture</vt:lpstr>
      <vt:lpstr>think-cell Slide</vt:lpstr>
      <vt:lpstr>Диаграмма</vt:lpstr>
      <vt:lpstr>Факторы сдерживания развития бизнеса в законодательной и правовой сферах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варительный отчет о проведении оценки регулирующего воздействия постановления Правительства Москвы от 30.12.2008 г. № 1218-ПП,   продлевающего срок действия 810-ПП от 18.09.2007г.</dc:title>
  <dc:creator>Никитченко Алексей</dc:creator>
  <cp:lastModifiedBy>дижитал</cp:lastModifiedBy>
  <cp:revision>843</cp:revision>
  <dcterms:created xsi:type="dcterms:W3CDTF">2012-11-17T07:01:42Z</dcterms:created>
  <dcterms:modified xsi:type="dcterms:W3CDTF">2014-11-21T15:24:05Z</dcterms:modified>
</cp:coreProperties>
</file>